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3" r:id="rId6"/>
    <p:sldMasterId id="2147483707" r:id="rId7"/>
  </p:sldMasterIdLst>
  <p:notesMasterIdLst>
    <p:notesMasterId r:id="rId30"/>
  </p:notesMasterIdLst>
  <p:sldIdLst>
    <p:sldId id="256" r:id="rId8"/>
    <p:sldId id="3983" r:id="rId9"/>
    <p:sldId id="4002" r:id="rId10"/>
    <p:sldId id="4018" r:id="rId11"/>
    <p:sldId id="4048" r:id="rId12"/>
    <p:sldId id="4049" r:id="rId13"/>
    <p:sldId id="4050" r:id="rId14"/>
    <p:sldId id="4046" r:id="rId15"/>
    <p:sldId id="4047" r:id="rId16"/>
    <p:sldId id="4040" r:id="rId17"/>
    <p:sldId id="4035" r:id="rId18"/>
    <p:sldId id="4036" r:id="rId19"/>
    <p:sldId id="4037" r:id="rId20"/>
    <p:sldId id="4038" r:id="rId21"/>
    <p:sldId id="4039" r:id="rId22"/>
    <p:sldId id="4041" r:id="rId23"/>
    <p:sldId id="4042" r:id="rId24"/>
    <p:sldId id="4043" r:id="rId25"/>
    <p:sldId id="4051" r:id="rId26"/>
    <p:sldId id="4052" r:id="rId27"/>
    <p:sldId id="4054" r:id="rId28"/>
    <p:sldId id="405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229" autoAdjust="0"/>
  </p:normalViewPr>
  <p:slideViewPr>
    <p:cSldViewPr snapToGrid="0">
      <p:cViewPr varScale="1">
        <p:scale>
          <a:sx n="59" d="100"/>
          <a:sy n="59" d="100"/>
        </p:scale>
        <p:origin x="940"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Neill, Dermot" userId="c1739f7e-8674-4e5d-ad7e-0c71b0662095" providerId="ADAL" clId="{6D463527-FD5E-4B19-A931-D087EE1A83B5}"/>
    <pc:docChg chg="mod">
      <pc:chgData name="O'Neill, Dermot" userId="c1739f7e-8674-4e5d-ad7e-0c71b0662095" providerId="ADAL" clId="{6D463527-FD5E-4B19-A931-D087EE1A83B5}" dt="2020-11-10T15:09:04.337" v="0"/>
      <pc:docMkLst>
        <pc:docMk/>
      </pc:docMkLst>
    </pc:docChg>
  </pc:docChgLst>
</pc:chgInfo>
</file>

<file path=ppt/diagrams/_rels/data2.xml.rels><?xml version="1.0" encoding="UTF-8" standalone="yes"?>
<Relationships xmlns="http://schemas.openxmlformats.org/package/2006/relationships"><Relationship Id="rId1" Type="http://schemas.openxmlformats.org/officeDocument/2006/relationships/hyperlink" Target="http://myteams.tycoelectronics.com/sites/teoa/orglearning/SitePages/Home.aspx" TargetMode="External"/></Relationships>
</file>

<file path=ppt/diagrams/_rels/data3.xml.rels><?xml version="1.0" encoding="UTF-8" standalone="yes"?>
<Relationships xmlns="http://schemas.openxmlformats.org/package/2006/relationships"><Relationship Id="rId8" Type="http://schemas.openxmlformats.org/officeDocument/2006/relationships/slide" Target="../slides/slide12.xml"/><Relationship Id="rId3" Type="http://schemas.openxmlformats.org/officeDocument/2006/relationships/hyperlink" Target="https://teams.connect.te.com/sites/TEOA/TEOA%20House%20Playbooks/Create%20Stability%20Playbooks/5S%20and%20Visual%20Management%20Playbook/5S%20And%20Visual%20Management%20Playbook%20TEC-406-160018.pptx" TargetMode="External"/><Relationship Id="rId7" Type="http://schemas.openxmlformats.org/officeDocument/2006/relationships/slide" Target="../slides/slide11.xml"/><Relationship Id="rId2" Type="http://schemas.openxmlformats.org/officeDocument/2006/relationships/hyperlink" Target="https://teams.connect.te.com/sites/TEOA/TEOA%20House%20Playbooks/Create%20Stability%20Playbooks/Quality%20Foundations%20Playbook/Quality%20Foundations%20Playbook%20TEC-406-160017.pptx" TargetMode="External"/><Relationship Id="rId1" Type="http://schemas.openxmlformats.org/officeDocument/2006/relationships/hyperlink" Target="https://teams.connect.te.com/sites/TEOA/TEOA%20House%20Playbooks/Create%20Stability%20Playbooks/EHS%20Playbook/EHS%20Playbook%20406-160016.pptx" TargetMode="External"/><Relationship Id="rId6" Type="http://schemas.openxmlformats.org/officeDocument/2006/relationships/slide" Target="../slides/slide10.xml"/><Relationship Id="rId5" Type="http://schemas.openxmlformats.org/officeDocument/2006/relationships/hyperlink" Target="https://teams.connect.te.com/sites/TEOA/TEOA%20House%20Playbooks/Create%20Stability%20Playbooks/PIM%20Playbook/PIM%20Playbook%20TEC-406-160020.pptx" TargetMode="External"/><Relationship Id="rId4" Type="http://schemas.openxmlformats.org/officeDocument/2006/relationships/hyperlink" Target="https://teams.connect.te.com/sites/TEOA/TEOA%20House%20Playbooks/Create%20Stability%20Playbooks/TPM%20Playbook/TPM%20Playbook%20TEC-406-160019.pptx"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myteams.tycoelectronics.com/sites/teoa/orglearning/SitePages/Home.aspx" TargetMode="External"/></Relationships>
</file>

<file path=ppt/diagrams/_rels/drawing3.xml.rels><?xml version="1.0" encoding="UTF-8" standalone="yes"?>
<Relationships xmlns="http://schemas.openxmlformats.org/package/2006/relationships"><Relationship Id="rId3" Type="http://schemas.openxmlformats.org/officeDocument/2006/relationships/hyperlink" Target="https://teams.connect.te.com/sites/TEOA/TEOA%20House%20Playbooks/Create%20Stability%20Playbooks/5S%20and%20Visual%20Management%20Playbook/5S%20And%20Visual%20Management%20Playbook%20TEC-406-160018.pptx" TargetMode="External"/><Relationship Id="rId2" Type="http://schemas.openxmlformats.org/officeDocument/2006/relationships/hyperlink" Target="https://teams.connect.te.com/sites/TEOA/TEOA%20House%20Playbooks/Create%20Stability%20Playbooks/Quality%20Foundations%20Playbook/Quality%20Foundations%20Playbook%20TEC-406-160017.pptx" TargetMode="External"/><Relationship Id="rId1" Type="http://schemas.openxmlformats.org/officeDocument/2006/relationships/hyperlink" Target="https://teams.connect.te.com/sites/TEOA/TEOA%20House%20Playbooks/Create%20Stability%20Playbooks/EHS%20Playbook/EHS%20Playbook%20406-160016.pptx" TargetMode="External"/><Relationship Id="rId5" Type="http://schemas.openxmlformats.org/officeDocument/2006/relationships/hyperlink" Target="https://teams.connect.te.com/sites/TEOA/TEOA%20House%20Playbooks/Create%20Stability%20Playbooks/PIM%20Playbook/PIM%20Playbook%20TEC-406-160020.pptx" TargetMode="External"/><Relationship Id="rId4" Type="http://schemas.openxmlformats.org/officeDocument/2006/relationships/hyperlink" Target="https://teams.connect.te.com/sites/TEOA/TEOA%20House%20Playbooks/Create%20Stability%20Playbooks/TPM%20Playbook/TPM%20Playbook%20TEC-406-160019.pptx" TargetMode="Externa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EF94D7-990A-476A-A05A-2DEC7C96EBF1}" type="doc">
      <dgm:prSet loTypeId="urn:microsoft.com/office/officeart/2005/8/layout/cycle3" loCatId="cycle" qsTypeId="urn:microsoft.com/office/officeart/2005/8/quickstyle/simple1" qsCatId="simple" csTypeId="urn:microsoft.com/office/officeart/2005/8/colors/accent1_1" csCatId="accent1" phldr="1"/>
      <dgm:spPr/>
      <dgm:t>
        <a:bodyPr/>
        <a:lstStyle/>
        <a:p>
          <a:endParaRPr lang="en-GB"/>
        </a:p>
      </dgm:t>
    </dgm:pt>
    <dgm:pt modelId="{F5FE4A27-99B4-4B1B-91B1-3A807D2B8A77}">
      <dgm:prSet phldrT="[Text]" custT="1"/>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GB" sz="1600" b="1" u="none" kern="1200" dirty="0">
              <a:solidFill>
                <a:schemeClr val="tx1"/>
              </a:solidFill>
              <a:latin typeface="Arial"/>
              <a:ea typeface="+mn-ea"/>
              <a:cs typeface="+mn-cs"/>
            </a:rPr>
            <a:t>Prepare</a:t>
          </a:r>
          <a:r>
            <a:rPr lang="en-GB" sz="1600" b="1" kern="1200" dirty="0">
              <a:latin typeface="Arial"/>
              <a:ea typeface="+mn-ea"/>
              <a:cs typeface="+mn-cs"/>
            </a:rPr>
            <a:t> </a:t>
          </a:r>
        </a:p>
      </dgm:t>
    </dgm:pt>
    <dgm:pt modelId="{AAAC7CE0-AA59-4C25-9837-E5AAC4425B05}" type="parTrans" cxnId="{C1C9E408-ABB1-4818-995E-72439882118D}">
      <dgm:prSet/>
      <dgm:spPr/>
      <dgm:t>
        <a:bodyPr/>
        <a:lstStyle/>
        <a:p>
          <a:endParaRPr lang="en-GB"/>
        </a:p>
      </dgm:t>
    </dgm:pt>
    <dgm:pt modelId="{C721DAE9-5546-434F-8344-5FBA9B43E38C}" type="sibTrans" cxnId="{C1C9E408-ABB1-4818-995E-72439882118D}">
      <dgm:prSet/>
      <dgm:spPr>
        <a:solidFill>
          <a:schemeClr val="bg2"/>
        </a:solidFill>
        <a:ln w="127000" cap="flat">
          <a:solidFill>
            <a:schemeClr val="bg2"/>
          </a:solidFill>
          <a:miter lim="800000"/>
        </a:ln>
      </dgm:spPr>
      <dgm:t>
        <a:bodyPr/>
        <a:lstStyle/>
        <a:p>
          <a:endParaRPr lang="en-GB"/>
        </a:p>
      </dgm:t>
    </dgm:pt>
    <dgm:pt modelId="{C162283B-E803-49E4-8D3D-E56D429BD646}">
      <dgm:prSet phldrT="[Text]" custT="1"/>
      <dgm:spPr/>
      <dgm:t>
        <a:bodyPr/>
        <a:lstStyle/>
        <a:p>
          <a:pPr algn="ctr"/>
          <a:r>
            <a:rPr lang="en-GB" sz="1100" b="1" dirty="0">
              <a:solidFill>
                <a:schemeClr val="tx1"/>
              </a:solidFill>
            </a:rPr>
            <a:t>Diagnose &amp; Design</a:t>
          </a:r>
        </a:p>
        <a:p>
          <a:pPr algn="ctr"/>
          <a:r>
            <a:rPr lang="en-GB" sz="900" dirty="0"/>
            <a:t>Define Value &amp; Design Future State </a:t>
          </a:r>
        </a:p>
      </dgm:t>
    </dgm:pt>
    <dgm:pt modelId="{D7BCE339-3282-492C-89F2-7B2276E0ECA8}" type="parTrans" cxnId="{8147326D-A90F-45FB-8690-293AB308B9A3}">
      <dgm:prSet/>
      <dgm:spPr/>
      <dgm:t>
        <a:bodyPr/>
        <a:lstStyle/>
        <a:p>
          <a:endParaRPr lang="en-GB"/>
        </a:p>
      </dgm:t>
    </dgm:pt>
    <dgm:pt modelId="{8DF5C5BC-48B9-4995-8CC4-28E87B71954F}" type="sibTrans" cxnId="{8147326D-A90F-45FB-8690-293AB308B9A3}">
      <dgm:prSet/>
      <dgm:spPr/>
      <dgm:t>
        <a:bodyPr/>
        <a:lstStyle/>
        <a:p>
          <a:endParaRPr lang="en-GB"/>
        </a:p>
      </dgm:t>
    </dgm:pt>
    <dgm:pt modelId="{E6C86340-97AB-44B4-8B47-6F1CF6D8DB04}">
      <dgm:prSet phldrT="[Text]" custT="1"/>
      <dgm:spPr/>
      <dgm:t>
        <a:bodyPr spcFirstLastPara="0" vert="horz" wrap="square" lIns="60960" tIns="60960" rIns="60960" bIns="60960" numCol="1" spcCol="1270" anchor="ctr" anchorCtr="0"/>
        <a:lstStyle/>
        <a:p>
          <a:pPr marL="0" lvl="0" algn="ctr" defTabSz="711200">
            <a:lnSpc>
              <a:spcPct val="90000"/>
            </a:lnSpc>
            <a:spcBef>
              <a:spcPct val="0"/>
            </a:spcBef>
            <a:spcAft>
              <a:spcPct val="35000"/>
            </a:spcAft>
            <a:buNone/>
          </a:pPr>
          <a:r>
            <a:rPr lang="en-GB" sz="1600" b="1" kern="1200" dirty="0">
              <a:solidFill>
                <a:schemeClr val="tx1"/>
              </a:solidFill>
              <a:latin typeface="Arial"/>
              <a:ea typeface="+mn-ea"/>
              <a:cs typeface="+mn-cs"/>
            </a:rPr>
            <a:t>Implement</a:t>
          </a:r>
        </a:p>
        <a:p>
          <a:pPr marL="0" lvl="0" algn="ctr" defTabSz="711200">
            <a:lnSpc>
              <a:spcPct val="90000"/>
            </a:lnSpc>
            <a:spcBef>
              <a:spcPct val="0"/>
            </a:spcBef>
            <a:spcAft>
              <a:spcPct val="35000"/>
            </a:spcAft>
            <a:buNone/>
          </a:pPr>
          <a:r>
            <a:rPr lang="en-GB" sz="900" kern="1200" dirty="0">
              <a:latin typeface="Arial"/>
              <a:ea typeface="+mn-ea"/>
              <a:cs typeface="+mn-cs"/>
            </a:rPr>
            <a:t>Create Flow &amp; Pull</a:t>
          </a:r>
        </a:p>
      </dgm:t>
    </dgm:pt>
    <dgm:pt modelId="{F9FD1987-3C80-4632-9CF8-3EC415510981}" type="parTrans" cxnId="{B245F0C7-30E3-4B6F-9B8A-9E93F5668659}">
      <dgm:prSet/>
      <dgm:spPr/>
      <dgm:t>
        <a:bodyPr/>
        <a:lstStyle/>
        <a:p>
          <a:endParaRPr lang="en-GB"/>
        </a:p>
      </dgm:t>
    </dgm:pt>
    <dgm:pt modelId="{316D4E57-EB99-45BF-94E3-46153053C337}" type="sibTrans" cxnId="{B245F0C7-30E3-4B6F-9B8A-9E93F5668659}">
      <dgm:prSet/>
      <dgm:spPr/>
      <dgm:t>
        <a:bodyPr/>
        <a:lstStyle/>
        <a:p>
          <a:endParaRPr lang="en-GB"/>
        </a:p>
      </dgm:t>
    </dgm:pt>
    <dgm:pt modelId="{79DA46B6-6E7B-45CB-ADE5-50C91B60F822}">
      <dgm:prSet phldrT="[Text]" custT="1"/>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GB" sz="1600" b="1" kern="1200" dirty="0">
              <a:solidFill>
                <a:schemeClr val="tx1"/>
              </a:solidFill>
              <a:latin typeface="Arial"/>
              <a:ea typeface="+mn-ea"/>
              <a:cs typeface="+mn-cs"/>
            </a:rPr>
            <a:t>Sustain</a:t>
          </a:r>
        </a:p>
        <a:p>
          <a:pPr marL="0" lvl="0" indent="0" algn="ctr" defTabSz="533400">
            <a:lnSpc>
              <a:spcPct val="90000"/>
            </a:lnSpc>
            <a:spcBef>
              <a:spcPct val="0"/>
            </a:spcBef>
            <a:spcAft>
              <a:spcPct val="35000"/>
            </a:spcAft>
            <a:buNone/>
          </a:pPr>
          <a:r>
            <a:rPr lang="en-GB" sz="900" kern="1200" dirty="0">
              <a:latin typeface="Arial"/>
              <a:ea typeface="+mn-ea"/>
              <a:cs typeface="+mn-cs"/>
            </a:rPr>
            <a:t>Pursue Perfection</a:t>
          </a:r>
          <a:endParaRPr lang="en-GB" sz="1800" kern="1200" dirty="0">
            <a:latin typeface="Arial"/>
            <a:ea typeface="+mn-ea"/>
            <a:cs typeface="+mn-cs"/>
          </a:endParaRPr>
        </a:p>
      </dgm:t>
    </dgm:pt>
    <dgm:pt modelId="{D62C5A2B-C0A2-44FA-8176-0F92268E0E2E}" type="parTrans" cxnId="{5FD2302B-3989-4EC8-A89A-F9B7D059A6A4}">
      <dgm:prSet/>
      <dgm:spPr/>
      <dgm:t>
        <a:bodyPr/>
        <a:lstStyle/>
        <a:p>
          <a:endParaRPr lang="en-GB"/>
        </a:p>
      </dgm:t>
    </dgm:pt>
    <dgm:pt modelId="{7A3319D1-DD18-4D47-93B5-BF0897F730CA}" type="sibTrans" cxnId="{5FD2302B-3989-4EC8-A89A-F9B7D059A6A4}">
      <dgm:prSet/>
      <dgm:spPr/>
      <dgm:t>
        <a:bodyPr/>
        <a:lstStyle/>
        <a:p>
          <a:endParaRPr lang="en-GB"/>
        </a:p>
      </dgm:t>
    </dgm:pt>
    <dgm:pt modelId="{2B2326F5-B79B-467B-8D0C-7F3CEAEAC50B}">
      <dgm:prSet phldrT="[Text]" custT="1"/>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GB" sz="900" kern="1200" dirty="0">
              <a:latin typeface="Arial"/>
              <a:ea typeface="+mn-ea"/>
              <a:cs typeface="+mn-cs"/>
            </a:rPr>
            <a:t>Strategy Alignment </a:t>
          </a:r>
        </a:p>
      </dgm:t>
    </dgm:pt>
    <dgm:pt modelId="{F31679BE-4967-44FC-8A24-21C48B9A7857}" type="parTrans" cxnId="{AB512B9E-CCAF-4F1C-ABBA-DC8138EFA035}">
      <dgm:prSet/>
      <dgm:spPr/>
      <dgm:t>
        <a:bodyPr/>
        <a:lstStyle/>
        <a:p>
          <a:endParaRPr lang="en-GB"/>
        </a:p>
      </dgm:t>
    </dgm:pt>
    <dgm:pt modelId="{F8FF2C64-6A5D-4111-8CE9-8080659E28D7}" type="sibTrans" cxnId="{AB512B9E-CCAF-4F1C-ABBA-DC8138EFA035}">
      <dgm:prSet/>
      <dgm:spPr/>
      <dgm:t>
        <a:bodyPr/>
        <a:lstStyle/>
        <a:p>
          <a:endParaRPr lang="en-GB"/>
        </a:p>
      </dgm:t>
    </dgm:pt>
    <dgm:pt modelId="{6E2478BB-E1FC-4B8C-8A0D-B0829E626B1D}" type="pres">
      <dgm:prSet presAssocID="{A3EF94D7-990A-476A-A05A-2DEC7C96EBF1}" presName="Name0" presStyleCnt="0">
        <dgm:presLayoutVars>
          <dgm:dir/>
          <dgm:resizeHandles val="exact"/>
        </dgm:presLayoutVars>
      </dgm:prSet>
      <dgm:spPr/>
    </dgm:pt>
    <dgm:pt modelId="{6E9C91DD-E79A-4005-9E83-3EAB3ECCAAD6}" type="pres">
      <dgm:prSet presAssocID="{A3EF94D7-990A-476A-A05A-2DEC7C96EBF1}" presName="cycle" presStyleCnt="0"/>
      <dgm:spPr/>
    </dgm:pt>
    <dgm:pt modelId="{9267CEE5-C8DF-40AB-8AC1-17BE85DB47F1}" type="pres">
      <dgm:prSet presAssocID="{F5FE4A27-99B4-4B1B-91B1-3A807D2B8A77}" presName="nodeFirstNode" presStyleLbl="node1" presStyleIdx="0" presStyleCnt="4" custScaleX="93058" custScaleY="58406" custRadScaleRad="156003" custRadScaleInc="83294">
        <dgm:presLayoutVars>
          <dgm:bulletEnabled val="1"/>
        </dgm:presLayoutVars>
      </dgm:prSet>
      <dgm:spPr>
        <a:xfrm>
          <a:off x="2992274" y="635833"/>
          <a:ext cx="1116263" cy="484098"/>
        </a:xfrm>
        <a:prstGeom prst="roundRect">
          <a:avLst/>
        </a:prstGeom>
      </dgm:spPr>
    </dgm:pt>
    <dgm:pt modelId="{9FD63B02-DE90-425C-B4AE-B4DC82EC03B3}" type="pres">
      <dgm:prSet presAssocID="{C721DAE9-5546-434F-8344-5FBA9B43E38C}" presName="sibTransFirstNode" presStyleLbl="bgShp" presStyleIdx="0" presStyleCnt="1" custAng="2241229" custLinFactNeighborX="-40376" custLinFactNeighborY="-8207"/>
      <dgm:spPr/>
    </dgm:pt>
    <dgm:pt modelId="{DC37BA66-E214-4432-A333-034D760190D1}" type="pres">
      <dgm:prSet presAssocID="{C162283B-E803-49E4-8D3D-E56D429BD646}" presName="nodeFollowingNodes" presStyleLbl="node1" presStyleIdx="1" presStyleCnt="4" custScaleX="96557" custScaleY="57449" custRadScaleRad="161365" custRadScaleInc="48035">
        <dgm:presLayoutVars>
          <dgm:bulletEnabled val="1"/>
        </dgm:presLayoutVars>
      </dgm:prSet>
      <dgm:spPr/>
    </dgm:pt>
    <dgm:pt modelId="{E7B5F725-DE40-4E98-9364-C5E8F362E93D}" type="pres">
      <dgm:prSet presAssocID="{E6C86340-97AB-44B4-8B47-6F1CF6D8DB04}" presName="nodeFollowingNodes" presStyleLbl="node1" presStyleIdx="2" presStyleCnt="4" custScaleX="81391" custScaleY="56708" custRadScaleRad="126799" custRadScaleInc="60764">
        <dgm:presLayoutVars>
          <dgm:bulletEnabled val="1"/>
        </dgm:presLayoutVars>
      </dgm:prSet>
      <dgm:spPr>
        <a:xfrm>
          <a:off x="961936" y="2068497"/>
          <a:ext cx="1173122" cy="470024"/>
        </a:xfrm>
        <a:prstGeom prst="roundRect">
          <a:avLst/>
        </a:prstGeom>
      </dgm:spPr>
    </dgm:pt>
    <dgm:pt modelId="{99B3B84C-A434-40CF-B321-DE6AA283672E}" type="pres">
      <dgm:prSet presAssocID="{79DA46B6-6E7B-45CB-ADE5-50C91B60F822}" presName="nodeFollowingNodes" presStyleLbl="node1" presStyleIdx="3" presStyleCnt="4" custScaleX="81433" custScaleY="56049" custRadScaleRad="114997" custRadScaleInc="59602">
        <dgm:presLayoutVars>
          <dgm:bulletEnabled val="1"/>
        </dgm:presLayoutVars>
      </dgm:prSet>
      <dgm:spPr>
        <a:xfrm>
          <a:off x="797412" y="1111497"/>
          <a:ext cx="1936667" cy="968333"/>
        </a:xfrm>
        <a:prstGeom prst="roundRect">
          <a:avLst/>
        </a:prstGeom>
      </dgm:spPr>
    </dgm:pt>
  </dgm:ptLst>
  <dgm:cxnLst>
    <dgm:cxn modelId="{851B4F01-F97F-409D-A04A-843675F375AF}" type="presOf" srcId="{2B2326F5-B79B-467B-8D0C-7F3CEAEAC50B}" destId="{9267CEE5-C8DF-40AB-8AC1-17BE85DB47F1}" srcOrd="0" destOrd="1" presId="urn:microsoft.com/office/officeart/2005/8/layout/cycle3"/>
    <dgm:cxn modelId="{46299603-CF2F-4AC4-8C15-DA38C8627612}" type="presOf" srcId="{79DA46B6-6E7B-45CB-ADE5-50C91B60F822}" destId="{99B3B84C-A434-40CF-B321-DE6AA283672E}" srcOrd="0" destOrd="0" presId="urn:microsoft.com/office/officeart/2005/8/layout/cycle3"/>
    <dgm:cxn modelId="{C1C9E408-ABB1-4818-995E-72439882118D}" srcId="{A3EF94D7-990A-476A-A05A-2DEC7C96EBF1}" destId="{F5FE4A27-99B4-4B1B-91B1-3A807D2B8A77}" srcOrd="0" destOrd="0" parTransId="{AAAC7CE0-AA59-4C25-9837-E5AAC4425B05}" sibTransId="{C721DAE9-5546-434F-8344-5FBA9B43E38C}"/>
    <dgm:cxn modelId="{5FD2302B-3989-4EC8-A89A-F9B7D059A6A4}" srcId="{A3EF94D7-990A-476A-A05A-2DEC7C96EBF1}" destId="{79DA46B6-6E7B-45CB-ADE5-50C91B60F822}" srcOrd="3" destOrd="0" parTransId="{D62C5A2B-C0A2-44FA-8176-0F92268E0E2E}" sibTransId="{7A3319D1-DD18-4D47-93B5-BF0897F730CA}"/>
    <dgm:cxn modelId="{25B6D635-10F2-4FA7-B6B0-5A01EB147B93}" type="presOf" srcId="{E6C86340-97AB-44B4-8B47-6F1CF6D8DB04}" destId="{E7B5F725-DE40-4E98-9364-C5E8F362E93D}" srcOrd="0" destOrd="0" presId="urn:microsoft.com/office/officeart/2005/8/layout/cycle3"/>
    <dgm:cxn modelId="{8147326D-A90F-45FB-8690-293AB308B9A3}" srcId="{A3EF94D7-990A-476A-A05A-2DEC7C96EBF1}" destId="{C162283B-E803-49E4-8D3D-E56D429BD646}" srcOrd="1" destOrd="0" parTransId="{D7BCE339-3282-492C-89F2-7B2276E0ECA8}" sibTransId="{8DF5C5BC-48B9-4995-8CC4-28E87B71954F}"/>
    <dgm:cxn modelId="{9B9B0274-841F-410B-BF96-8437A65041B2}" type="presOf" srcId="{F5FE4A27-99B4-4B1B-91B1-3A807D2B8A77}" destId="{9267CEE5-C8DF-40AB-8AC1-17BE85DB47F1}" srcOrd="0" destOrd="0" presId="urn:microsoft.com/office/officeart/2005/8/layout/cycle3"/>
    <dgm:cxn modelId="{53FB6D8D-218C-449D-8952-4126F175BF45}" type="presOf" srcId="{C721DAE9-5546-434F-8344-5FBA9B43E38C}" destId="{9FD63B02-DE90-425C-B4AE-B4DC82EC03B3}" srcOrd="0" destOrd="0" presId="urn:microsoft.com/office/officeart/2005/8/layout/cycle3"/>
    <dgm:cxn modelId="{AB512B9E-CCAF-4F1C-ABBA-DC8138EFA035}" srcId="{F5FE4A27-99B4-4B1B-91B1-3A807D2B8A77}" destId="{2B2326F5-B79B-467B-8D0C-7F3CEAEAC50B}" srcOrd="0" destOrd="0" parTransId="{F31679BE-4967-44FC-8A24-21C48B9A7857}" sibTransId="{F8FF2C64-6A5D-4111-8CE9-8080659E28D7}"/>
    <dgm:cxn modelId="{B245F0C7-30E3-4B6F-9B8A-9E93F5668659}" srcId="{A3EF94D7-990A-476A-A05A-2DEC7C96EBF1}" destId="{E6C86340-97AB-44B4-8B47-6F1CF6D8DB04}" srcOrd="2" destOrd="0" parTransId="{F9FD1987-3C80-4632-9CF8-3EC415510981}" sibTransId="{316D4E57-EB99-45BF-94E3-46153053C337}"/>
    <dgm:cxn modelId="{DD0444D0-2214-4776-B4EC-D196EEF1C2CD}" type="presOf" srcId="{C162283B-E803-49E4-8D3D-E56D429BD646}" destId="{DC37BA66-E214-4432-A333-034D760190D1}" srcOrd="0" destOrd="0" presId="urn:microsoft.com/office/officeart/2005/8/layout/cycle3"/>
    <dgm:cxn modelId="{780E54FF-6F33-47D1-B3A7-E13E480FE0F9}" type="presOf" srcId="{A3EF94D7-990A-476A-A05A-2DEC7C96EBF1}" destId="{6E2478BB-E1FC-4B8C-8A0D-B0829E626B1D}" srcOrd="0" destOrd="0" presId="urn:microsoft.com/office/officeart/2005/8/layout/cycle3"/>
    <dgm:cxn modelId="{6946C5A8-CB21-4A42-B54B-AE7AF9BBBC7A}" type="presParOf" srcId="{6E2478BB-E1FC-4B8C-8A0D-B0829E626B1D}" destId="{6E9C91DD-E79A-4005-9E83-3EAB3ECCAAD6}" srcOrd="0" destOrd="0" presId="urn:microsoft.com/office/officeart/2005/8/layout/cycle3"/>
    <dgm:cxn modelId="{FD6CF66B-71DF-4ABE-901A-22F97C2BC179}" type="presParOf" srcId="{6E9C91DD-E79A-4005-9E83-3EAB3ECCAAD6}" destId="{9267CEE5-C8DF-40AB-8AC1-17BE85DB47F1}" srcOrd="0" destOrd="0" presId="urn:microsoft.com/office/officeart/2005/8/layout/cycle3"/>
    <dgm:cxn modelId="{2892D9D3-2E9A-4664-8B2C-8080C0BC200C}" type="presParOf" srcId="{6E9C91DD-E79A-4005-9E83-3EAB3ECCAAD6}" destId="{9FD63B02-DE90-425C-B4AE-B4DC82EC03B3}" srcOrd="1" destOrd="0" presId="urn:microsoft.com/office/officeart/2005/8/layout/cycle3"/>
    <dgm:cxn modelId="{8AB37D65-D916-4335-ABDC-0E9FE5EA2563}" type="presParOf" srcId="{6E9C91DD-E79A-4005-9E83-3EAB3ECCAAD6}" destId="{DC37BA66-E214-4432-A333-034D760190D1}" srcOrd="2" destOrd="0" presId="urn:microsoft.com/office/officeart/2005/8/layout/cycle3"/>
    <dgm:cxn modelId="{9FC60EF9-F30E-4390-9EA9-137053F73594}" type="presParOf" srcId="{6E9C91DD-E79A-4005-9E83-3EAB3ECCAAD6}" destId="{E7B5F725-DE40-4E98-9364-C5E8F362E93D}" srcOrd="3" destOrd="0" presId="urn:microsoft.com/office/officeart/2005/8/layout/cycle3"/>
    <dgm:cxn modelId="{4B8566AF-C1A4-41A6-A100-0A256FC92224}" type="presParOf" srcId="{6E9C91DD-E79A-4005-9E83-3EAB3ECCAAD6}" destId="{99B3B84C-A434-40CF-B321-DE6AA283672E}" srcOrd="4"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9B26E1-06E7-44DE-8720-787E787D0D17}"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E"/>
        </a:p>
      </dgm:t>
    </dgm:pt>
    <dgm:pt modelId="{D57CE5D9-C4D9-4851-9120-7C54B7FB32DD}">
      <dgm:prSet phldrT="[Text]"/>
      <dgm:spPr/>
      <dgm:t>
        <a:bodyPr/>
        <a:lstStyle/>
        <a:p>
          <a:r>
            <a:rPr lang="en-IE" dirty="0"/>
            <a:t>Program Management Activities:</a:t>
          </a:r>
        </a:p>
      </dgm:t>
    </dgm:pt>
    <dgm:pt modelId="{16DC87BC-FA69-4508-91D9-4061581EACA6}" type="parTrans" cxnId="{B8582821-6CA2-40B5-A148-4BA3C4F65759}">
      <dgm:prSet/>
      <dgm:spPr/>
      <dgm:t>
        <a:bodyPr/>
        <a:lstStyle/>
        <a:p>
          <a:endParaRPr lang="en-IE"/>
        </a:p>
      </dgm:t>
    </dgm:pt>
    <dgm:pt modelId="{334FBEDE-EB8A-404A-A244-42D236732BA5}" type="sibTrans" cxnId="{B8582821-6CA2-40B5-A148-4BA3C4F65759}">
      <dgm:prSet/>
      <dgm:spPr/>
      <dgm:t>
        <a:bodyPr/>
        <a:lstStyle/>
        <a:p>
          <a:endParaRPr lang="en-IE"/>
        </a:p>
      </dgm:t>
    </dgm:pt>
    <dgm:pt modelId="{2A78388C-FDF1-4100-B228-0E2A89197B96}">
      <dgm:prSet phldrT="[Text]"/>
      <dgm:spPr/>
      <dgm:t>
        <a:bodyPr/>
        <a:lstStyle/>
        <a:p>
          <a:r>
            <a:rPr lang="en-IE" dirty="0"/>
            <a:t>Hold kick-off meeting</a:t>
          </a:r>
        </a:p>
      </dgm:t>
    </dgm:pt>
    <dgm:pt modelId="{8458A2CD-E6A4-40C9-845B-ED06F1FC3235}" type="parTrans" cxnId="{74BA6826-7062-4562-9387-044EAE4B0420}">
      <dgm:prSet/>
      <dgm:spPr/>
      <dgm:t>
        <a:bodyPr/>
        <a:lstStyle/>
        <a:p>
          <a:endParaRPr lang="en-IE"/>
        </a:p>
      </dgm:t>
    </dgm:pt>
    <dgm:pt modelId="{A2FC079A-2CC9-4765-B9C3-B91EAED819EC}" type="sibTrans" cxnId="{74BA6826-7062-4562-9387-044EAE4B0420}">
      <dgm:prSet/>
      <dgm:spPr/>
      <dgm:t>
        <a:bodyPr/>
        <a:lstStyle/>
        <a:p>
          <a:endParaRPr lang="en-IE"/>
        </a:p>
      </dgm:t>
    </dgm:pt>
    <dgm:pt modelId="{0AEDDB9C-8A62-4914-908B-F22B88DC0072}">
      <dgm:prSet phldrT="[Text]"/>
      <dgm:spPr/>
      <dgm:t>
        <a:bodyPr/>
        <a:lstStyle/>
        <a:p>
          <a:r>
            <a:rPr lang="en-IE" dirty="0"/>
            <a:t>Training Activities</a:t>
          </a:r>
        </a:p>
      </dgm:t>
    </dgm:pt>
    <dgm:pt modelId="{AF3B43FA-F870-4121-B468-C76B4A4CCFAC}" type="parTrans" cxnId="{FFF8C88E-4A17-49CD-B756-04E0EF77EE4E}">
      <dgm:prSet/>
      <dgm:spPr/>
      <dgm:t>
        <a:bodyPr/>
        <a:lstStyle/>
        <a:p>
          <a:endParaRPr lang="en-IE"/>
        </a:p>
      </dgm:t>
    </dgm:pt>
    <dgm:pt modelId="{554F8887-D19E-4FB4-BE23-3759931524ED}" type="sibTrans" cxnId="{FFF8C88E-4A17-49CD-B756-04E0EF77EE4E}">
      <dgm:prSet/>
      <dgm:spPr/>
      <dgm:t>
        <a:bodyPr/>
        <a:lstStyle/>
        <a:p>
          <a:endParaRPr lang="en-IE"/>
        </a:p>
      </dgm:t>
    </dgm:pt>
    <dgm:pt modelId="{F729D604-A69D-417C-BB86-7E5D83DF6F72}">
      <dgm:prSet phldrT="[Text]"/>
      <dgm:spPr/>
      <dgm:t>
        <a:bodyPr/>
        <a:lstStyle/>
        <a:p>
          <a:r>
            <a:rPr lang="en-IE" dirty="0"/>
            <a:t>Reference available Playbooks &amp; training and ensure key participants from the SIT team attend as necessary: </a:t>
          </a:r>
          <a:r>
            <a:rPr lang="en-IE" dirty="0">
              <a:hlinkClick xmlns:r="http://schemas.openxmlformats.org/officeDocument/2006/relationships" r:id="rId1"/>
            </a:rPr>
            <a:t>TEOA ACADEMY</a:t>
          </a:r>
          <a:endParaRPr lang="en-IE" dirty="0"/>
        </a:p>
      </dgm:t>
    </dgm:pt>
    <dgm:pt modelId="{10E42426-83C8-46C0-A613-CE01FC37363A}" type="parTrans" cxnId="{5B9E50D1-BEA2-4F70-AED2-7709ABD670A9}">
      <dgm:prSet/>
      <dgm:spPr/>
      <dgm:t>
        <a:bodyPr/>
        <a:lstStyle/>
        <a:p>
          <a:endParaRPr lang="en-IE"/>
        </a:p>
      </dgm:t>
    </dgm:pt>
    <dgm:pt modelId="{9803ED44-A469-4311-ADBD-C335D86EE2A3}" type="sibTrans" cxnId="{5B9E50D1-BEA2-4F70-AED2-7709ABD670A9}">
      <dgm:prSet/>
      <dgm:spPr/>
      <dgm:t>
        <a:bodyPr/>
        <a:lstStyle/>
        <a:p>
          <a:endParaRPr lang="en-IE"/>
        </a:p>
      </dgm:t>
    </dgm:pt>
    <dgm:pt modelId="{A08AF667-3393-4192-B4DA-2B01666166C3}">
      <dgm:prSet phldrT="[Text]"/>
      <dgm:spPr/>
      <dgm:t>
        <a:bodyPr/>
        <a:lstStyle/>
        <a:p>
          <a:r>
            <a:rPr lang="en-IE" dirty="0"/>
            <a:t>Preparation Activities</a:t>
          </a:r>
        </a:p>
      </dgm:t>
    </dgm:pt>
    <dgm:pt modelId="{E6059BDB-B815-4057-A589-912FB4AEE725}" type="parTrans" cxnId="{B2CBFF37-296E-4300-8295-F10C938F901B}">
      <dgm:prSet/>
      <dgm:spPr/>
      <dgm:t>
        <a:bodyPr/>
        <a:lstStyle/>
        <a:p>
          <a:endParaRPr lang="en-IE"/>
        </a:p>
      </dgm:t>
    </dgm:pt>
    <dgm:pt modelId="{7ABFDC22-B966-432D-B1C2-2CCF4F0D7204}" type="sibTrans" cxnId="{B2CBFF37-296E-4300-8295-F10C938F901B}">
      <dgm:prSet/>
      <dgm:spPr/>
      <dgm:t>
        <a:bodyPr/>
        <a:lstStyle/>
        <a:p>
          <a:endParaRPr lang="en-IE"/>
        </a:p>
      </dgm:t>
    </dgm:pt>
    <dgm:pt modelId="{6041D5B2-1C8B-4867-83CE-5F82BEBFE679}">
      <dgm:prSet phldrT="[Text]"/>
      <dgm:spPr/>
      <dgm:t>
        <a:bodyPr/>
        <a:lstStyle/>
        <a:p>
          <a:r>
            <a:rPr lang="en-IE" dirty="0"/>
            <a:t>Establish baseline foundations at the site level. </a:t>
          </a:r>
        </a:p>
      </dgm:t>
    </dgm:pt>
    <dgm:pt modelId="{23694B62-94CC-4A0E-8C3F-ACBF1A948B3F}" type="parTrans" cxnId="{04C392E4-5393-4067-9F64-7C36D9584034}">
      <dgm:prSet/>
      <dgm:spPr/>
      <dgm:t>
        <a:bodyPr/>
        <a:lstStyle/>
        <a:p>
          <a:endParaRPr lang="en-IE"/>
        </a:p>
      </dgm:t>
    </dgm:pt>
    <dgm:pt modelId="{E3B4AFD5-5911-4519-8F93-B3FE73FFA5F4}" type="sibTrans" cxnId="{04C392E4-5393-4067-9F64-7C36D9584034}">
      <dgm:prSet/>
      <dgm:spPr/>
      <dgm:t>
        <a:bodyPr/>
        <a:lstStyle/>
        <a:p>
          <a:endParaRPr lang="en-IE"/>
        </a:p>
      </dgm:t>
    </dgm:pt>
    <dgm:pt modelId="{936352E9-3162-4CBF-A1CB-8241323A68E0}">
      <dgm:prSet phldrT="[Text]"/>
      <dgm:spPr/>
      <dgm:t>
        <a:bodyPr/>
        <a:lstStyle/>
        <a:p>
          <a:r>
            <a:rPr lang="en-IE" dirty="0"/>
            <a:t>Goals</a:t>
          </a:r>
        </a:p>
      </dgm:t>
    </dgm:pt>
    <dgm:pt modelId="{7E96B895-2683-4B4A-A139-8B7AC268FD99}" type="parTrans" cxnId="{4F091356-ACA8-4005-8A4F-D58EAC493C62}">
      <dgm:prSet/>
      <dgm:spPr/>
      <dgm:t>
        <a:bodyPr/>
        <a:lstStyle/>
        <a:p>
          <a:endParaRPr lang="en-IE"/>
        </a:p>
      </dgm:t>
    </dgm:pt>
    <dgm:pt modelId="{2D2F63C6-8D49-4CF4-B48C-CB7F0D34A9FC}" type="sibTrans" cxnId="{4F091356-ACA8-4005-8A4F-D58EAC493C62}">
      <dgm:prSet/>
      <dgm:spPr/>
      <dgm:t>
        <a:bodyPr/>
        <a:lstStyle/>
        <a:p>
          <a:endParaRPr lang="en-IE"/>
        </a:p>
      </dgm:t>
    </dgm:pt>
    <dgm:pt modelId="{86CF1293-3DD9-4D83-8D97-3BB7719F995A}">
      <dgm:prSet/>
      <dgm:spPr/>
      <dgm:t>
        <a:bodyPr/>
        <a:lstStyle/>
        <a:p>
          <a:r>
            <a:rPr lang="en-IE" dirty="0"/>
            <a:t>Identify key site participants</a:t>
          </a:r>
        </a:p>
      </dgm:t>
    </dgm:pt>
    <dgm:pt modelId="{D13592E6-92BD-4E17-AB17-5CF2AAE40E27}" type="parTrans" cxnId="{CC574DE3-0B0D-488C-A175-6E93B81CD99D}">
      <dgm:prSet/>
      <dgm:spPr/>
      <dgm:t>
        <a:bodyPr/>
        <a:lstStyle/>
        <a:p>
          <a:endParaRPr lang="en-IE"/>
        </a:p>
      </dgm:t>
    </dgm:pt>
    <dgm:pt modelId="{D5B7B47D-C085-406B-870D-82961FEB611A}" type="sibTrans" cxnId="{CC574DE3-0B0D-488C-A175-6E93B81CD99D}">
      <dgm:prSet/>
      <dgm:spPr/>
      <dgm:t>
        <a:bodyPr/>
        <a:lstStyle/>
        <a:p>
          <a:endParaRPr lang="en-IE"/>
        </a:p>
      </dgm:t>
    </dgm:pt>
    <dgm:pt modelId="{50928F9D-E027-46FF-8761-1D830ACA9D56}">
      <dgm:prSet/>
      <dgm:spPr/>
      <dgm:t>
        <a:bodyPr/>
        <a:lstStyle/>
        <a:p>
          <a:r>
            <a:rPr lang="en-IE" dirty="0"/>
            <a:t>Establish Site Integration Team structure</a:t>
          </a:r>
        </a:p>
      </dgm:t>
    </dgm:pt>
    <dgm:pt modelId="{80810898-FA89-4A9B-BD8F-4637ED199419}" type="parTrans" cxnId="{94C429B6-68C6-4458-BC8F-A0B5E154658B}">
      <dgm:prSet/>
      <dgm:spPr/>
      <dgm:t>
        <a:bodyPr/>
        <a:lstStyle/>
        <a:p>
          <a:endParaRPr lang="en-IE"/>
        </a:p>
      </dgm:t>
    </dgm:pt>
    <dgm:pt modelId="{65257F62-B763-4251-BA19-BE798E55ED40}" type="sibTrans" cxnId="{94C429B6-68C6-4458-BC8F-A0B5E154658B}">
      <dgm:prSet/>
      <dgm:spPr/>
      <dgm:t>
        <a:bodyPr/>
        <a:lstStyle/>
        <a:p>
          <a:endParaRPr lang="en-IE"/>
        </a:p>
      </dgm:t>
    </dgm:pt>
    <dgm:pt modelId="{4FE8F13F-3AA6-4D54-8957-1081B9E25EE4}">
      <dgm:prSet/>
      <dgm:spPr/>
      <dgm:t>
        <a:bodyPr/>
        <a:lstStyle/>
        <a:p>
          <a:r>
            <a:rPr lang="en-IE" dirty="0"/>
            <a:t>Develop </a:t>
          </a:r>
          <a:r>
            <a:rPr lang="en-IE" b="1" dirty="0"/>
            <a:t>Guiding Principles</a:t>
          </a:r>
        </a:p>
      </dgm:t>
    </dgm:pt>
    <dgm:pt modelId="{0F07BDB7-7CB8-4860-87CE-A98BEA6D1A4D}" type="parTrans" cxnId="{2DD18A51-E427-470B-BBEF-31D16A5FEA41}">
      <dgm:prSet/>
      <dgm:spPr/>
      <dgm:t>
        <a:bodyPr/>
        <a:lstStyle/>
        <a:p>
          <a:endParaRPr lang="en-IE"/>
        </a:p>
      </dgm:t>
    </dgm:pt>
    <dgm:pt modelId="{98EDB3DC-1631-4E79-AB28-C84DE616679B}" type="sibTrans" cxnId="{2DD18A51-E427-470B-BBEF-31D16A5FEA41}">
      <dgm:prSet/>
      <dgm:spPr/>
      <dgm:t>
        <a:bodyPr/>
        <a:lstStyle/>
        <a:p>
          <a:endParaRPr lang="en-IE"/>
        </a:p>
      </dgm:t>
    </dgm:pt>
    <dgm:pt modelId="{C194BA93-7DA6-42D2-AAF7-691EDF8F652C}">
      <dgm:prSet phldrT="[Text]"/>
      <dgm:spPr/>
      <dgm:t>
        <a:bodyPr/>
        <a:lstStyle/>
        <a:p>
          <a:r>
            <a:rPr lang="en-IE" dirty="0"/>
            <a:t>Generate TEOA awareness within the site</a:t>
          </a:r>
        </a:p>
      </dgm:t>
    </dgm:pt>
    <dgm:pt modelId="{424240C9-0B9B-4E58-8213-7988516D9A5C}" type="parTrans" cxnId="{6516D2A4-C7E2-498B-8E9A-8B2DFB7DD0C8}">
      <dgm:prSet/>
      <dgm:spPr/>
      <dgm:t>
        <a:bodyPr/>
        <a:lstStyle/>
        <a:p>
          <a:endParaRPr lang="en-IE"/>
        </a:p>
      </dgm:t>
    </dgm:pt>
    <dgm:pt modelId="{E477056F-7B37-44FC-8598-CC34D3614D00}" type="sibTrans" cxnId="{6516D2A4-C7E2-498B-8E9A-8B2DFB7DD0C8}">
      <dgm:prSet/>
      <dgm:spPr/>
      <dgm:t>
        <a:bodyPr/>
        <a:lstStyle/>
        <a:p>
          <a:endParaRPr lang="en-IE"/>
        </a:p>
      </dgm:t>
    </dgm:pt>
    <dgm:pt modelId="{9C11DC5F-AF98-4B75-9234-A75FB07D9967}">
      <dgm:prSet/>
      <dgm:spPr/>
      <dgm:t>
        <a:bodyPr/>
        <a:lstStyle/>
        <a:p>
          <a:r>
            <a:rPr lang="en-IE" dirty="0"/>
            <a:t>Identify key site participants and establish SIT structure.</a:t>
          </a:r>
        </a:p>
      </dgm:t>
    </dgm:pt>
    <dgm:pt modelId="{F2A196AF-2E4E-4825-BFC8-D93969DDCB74}" type="parTrans" cxnId="{BE85CBC7-63A0-4D30-9D0C-56655EFBC55F}">
      <dgm:prSet/>
      <dgm:spPr/>
      <dgm:t>
        <a:bodyPr/>
        <a:lstStyle/>
        <a:p>
          <a:endParaRPr lang="en-IE"/>
        </a:p>
      </dgm:t>
    </dgm:pt>
    <dgm:pt modelId="{D4A408ED-DA6F-4C56-B0A9-727970C829D4}" type="sibTrans" cxnId="{BE85CBC7-63A0-4D30-9D0C-56655EFBC55F}">
      <dgm:prSet/>
      <dgm:spPr/>
      <dgm:t>
        <a:bodyPr/>
        <a:lstStyle/>
        <a:p>
          <a:endParaRPr lang="en-IE"/>
        </a:p>
      </dgm:t>
    </dgm:pt>
    <dgm:pt modelId="{9C861184-866E-431C-8A12-702E019B9385}">
      <dgm:prSet/>
      <dgm:spPr/>
      <dgm:t>
        <a:bodyPr/>
        <a:lstStyle/>
        <a:p>
          <a:r>
            <a:rPr lang="en-IE" dirty="0"/>
            <a:t>Establish </a:t>
          </a:r>
          <a:r>
            <a:rPr lang="en-IE" b="1" dirty="0"/>
            <a:t>Guiding Principles </a:t>
          </a:r>
          <a:r>
            <a:rPr lang="en-IE" dirty="0"/>
            <a:t>as a team to serve as the common objectives and true north for the site’s TEOA deployment.</a:t>
          </a:r>
        </a:p>
      </dgm:t>
    </dgm:pt>
    <dgm:pt modelId="{6D049C00-7D47-4BF1-8F52-65AE1449D408}" type="parTrans" cxnId="{63AD812D-C6DB-45BD-94F8-EE821C6F5B2E}">
      <dgm:prSet/>
      <dgm:spPr/>
      <dgm:t>
        <a:bodyPr/>
        <a:lstStyle/>
        <a:p>
          <a:endParaRPr lang="en-IE"/>
        </a:p>
      </dgm:t>
    </dgm:pt>
    <dgm:pt modelId="{72ED862A-4EAC-4078-9F32-23A8C8C1579A}" type="sibTrans" cxnId="{63AD812D-C6DB-45BD-94F8-EE821C6F5B2E}">
      <dgm:prSet/>
      <dgm:spPr/>
      <dgm:t>
        <a:bodyPr/>
        <a:lstStyle/>
        <a:p>
          <a:endParaRPr lang="en-IE"/>
        </a:p>
      </dgm:t>
    </dgm:pt>
    <dgm:pt modelId="{312D3304-CDC6-4A42-9A57-0A68B63261A3}">
      <dgm:prSet phldrT="[Text]"/>
      <dgm:spPr/>
      <dgm:t>
        <a:bodyPr/>
        <a:lstStyle/>
        <a:p>
          <a:r>
            <a:rPr lang="en-IE" dirty="0"/>
            <a:t>Conduct awareness training and specific Fundamental tool trainings for all key site personnel.</a:t>
          </a:r>
        </a:p>
      </dgm:t>
    </dgm:pt>
    <dgm:pt modelId="{661FC67E-13CC-438E-BEB6-D6FF0609C7FE}" type="parTrans" cxnId="{AD204215-868B-4F48-8A0D-8D1BF10A9E18}">
      <dgm:prSet/>
      <dgm:spPr/>
      <dgm:t>
        <a:bodyPr/>
        <a:lstStyle/>
        <a:p>
          <a:endParaRPr lang="en-IE"/>
        </a:p>
      </dgm:t>
    </dgm:pt>
    <dgm:pt modelId="{EFA37578-FF9D-403C-A31B-A61731F5F6F1}" type="sibTrans" cxnId="{AD204215-868B-4F48-8A0D-8D1BF10A9E18}">
      <dgm:prSet/>
      <dgm:spPr/>
      <dgm:t>
        <a:bodyPr/>
        <a:lstStyle/>
        <a:p>
          <a:endParaRPr lang="en-IE"/>
        </a:p>
      </dgm:t>
    </dgm:pt>
    <dgm:pt modelId="{0C19831D-E030-48E9-ADD2-9A8D93BA1A4C}" type="pres">
      <dgm:prSet presAssocID="{669B26E1-06E7-44DE-8720-787E787D0D17}" presName="Name0" presStyleCnt="0">
        <dgm:presLayoutVars>
          <dgm:dir/>
          <dgm:animLvl val="lvl"/>
          <dgm:resizeHandles val="exact"/>
        </dgm:presLayoutVars>
      </dgm:prSet>
      <dgm:spPr/>
    </dgm:pt>
    <dgm:pt modelId="{C8CB86FE-3C3D-405B-AE9D-7752070B0866}" type="pres">
      <dgm:prSet presAssocID="{D57CE5D9-C4D9-4851-9120-7C54B7FB32DD}" presName="composite" presStyleCnt="0"/>
      <dgm:spPr/>
    </dgm:pt>
    <dgm:pt modelId="{F9BED6F5-EB3C-4C09-A486-F7E85C78C698}" type="pres">
      <dgm:prSet presAssocID="{D57CE5D9-C4D9-4851-9120-7C54B7FB32DD}" presName="parTx" presStyleLbl="alignNode1" presStyleIdx="0" presStyleCnt="4">
        <dgm:presLayoutVars>
          <dgm:chMax val="0"/>
          <dgm:chPref val="0"/>
          <dgm:bulletEnabled val="1"/>
        </dgm:presLayoutVars>
      </dgm:prSet>
      <dgm:spPr/>
    </dgm:pt>
    <dgm:pt modelId="{19E06B1F-2751-4E3B-87DF-B13BCDAE939E}" type="pres">
      <dgm:prSet presAssocID="{D57CE5D9-C4D9-4851-9120-7C54B7FB32DD}" presName="desTx" presStyleLbl="alignAccFollowNode1" presStyleIdx="0" presStyleCnt="4">
        <dgm:presLayoutVars>
          <dgm:bulletEnabled val="1"/>
        </dgm:presLayoutVars>
      </dgm:prSet>
      <dgm:spPr/>
    </dgm:pt>
    <dgm:pt modelId="{98B3DA37-0FAB-447E-96EB-92E3A68BA65F}" type="pres">
      <dgm:prSet presAssocID="{334FBEDE-EB8A-404A-A244-42D236732BA5}" presName="space" presStyleCnt="0"/>
      <dgm:spPr/>
    </dgm:pt>
    <dgm:pt modelId="{A09CC9AA-806B-4DFA-90AA-1483200AC223}" type="pres">
      <dgm:prSet presAssocID="{0AEDDB9C-8A62-4914-908B-F22B88DC0072}" presName="composite" presStyleCnt="0"/>
      <dgm:spPr/>
    </dgm:pt>
    <dgm:pt modelId="{1964FF85-FAC9-495E-AAD6-1F0291A76973}" type="pres">
      <dgm:prSet presAssocID="{0AEDDB9C-8A62-4914-908B-F22B88DC0072}" presName="parTx" presStyleLbl="alignNode1" presStyleIdx="1" presStyleCnt="4">
        <dgm:presLayoutVars>
          <dgm:chMax val="0"/>
          <dgm:chPref val="0"/>
          <dgm:bulletEnabled val="1"/>
        </dgm:presLayoutVars>
      </dgm:prSet>
      <dgm:spPr/>
    </dgm:pt>
    <dgm:pt modelId="{C4FA218B-70B0-4B76-92B2-76EE3F4E3274}" type="pres">
      <dgm:prSet presAssocID="{0AEDDB9C-8A62-4914-908B-F22B88DC0072}" presName="desTx" presStyleLbl="alignAccFollowNode1" presStyleIdx="1" presStyleCnt="4">
        <dgm:presLayoutVars>
          <dgm:bulletEnabled val="1"/>
        </dgm:presLayoutVars>
      </dgm:prSet>
      <dgm:spPr/>
    </dgm:pt>
    <dgm:pt modelId="{8978E874-D1B0-4F6C-9532-FD74D234D8AB}" type="pres">
      <dgm:prSet presAssocID="{554F8887-D19E-4FB4-BE23-3759931524ED}" presName="space" presStyleCnt="0"/>
      <dgm:spPr/>
    </dgm:pt>
    <dgm:pt modelId="{7801FEE2-2457-4DAA-B723-D309ABC0933B}" type="pres">
      <dgm:prSet presAssocID="{A08AF667-3393-4192-B4DA-2B01666166C3}" presName="composite" presStyleCnt="0"/>
      <dgm:spPr/>
    </dgm:pt>
    <dgm:pt modelId="{41B42664-6618-486C-84E5-3F48973C6021}" type="pres">
      <dgm:prSet presAssocID="{A08AF667-3393-4192-B4DA-2B01666166C3}" presName="parTx" presStyleLbl="alignNode1" presStyleIdx="2" presStyleCnt="4">
        <dgm:presLayoutVars>
          <dgm:chMax val="0"/>
          <dgm:chPref val="0"/>
          <dgm:bulletEnabled val="1"/>
        </dgm:presLayoutVars>
      </dgm:prSet>
      <dgm:spPr/>
    </dgm:pt>
    <dgm:pt modelId="{F151E1D8-CB2C-4529-9938-92DDC158E374}" type="pres">
      <dgm:prSet presAssocID="{A08AF667-3393-4192-B4DA-2B01666166C3}" presName="desTx" presStyleLbl="alignAccFollowNode1" presStyleIdx="2" presStyleCnt="4">
        <dgm:presLayoutVars>
          <dgm:bulletEnabled val="1"/>
        </dgm:presLayoutVars>
      </dgm:prSet>
      <dgm:spPr/>
    </dgm:pt>
    <dgm:pt modelId="{13FA64C5-0D43-45D8-9045-1AFCE4B767FF}" type="pres">
      <dgm:prSet presAssocID="{7ABFDC22-B966-432D-B1C2-2CCF4F0D7204}" presName="space" presStyleCnt="0"/>
      <dgm:spPr/>
    </dgm:pt>
    <dgm:pt modelId="{C77DC017-43A9-4841-B96D-577DCE250532}" type="pres">
      <dgm:prSet presAssocID="{936352E9-3162-4CBF-A1CB-8241323A68E0}" presName="composite" presStyleCnt="0"/>
      <dgm:spPr/>
    </dgm:pt>
    <dgm:pt modelId="{BFD9C967-81AA-4388-86B0-93EB26159C0C}" type="pres">
      <dgm:prSet presAssocID="{936352E9-3162-4CBF-A1CB-8241323A68E0}" presName="parTx" presStyleLbl="alignNode1" presStyleIdx="3" presStyleCnt="4">
        <dgm:presLayoutVars>
          <dgm:chMax val="0"/>
          <dgm:chPref val="0"/>
          <dgm:bulletEnabled val="1"/>
        </dgm:presLayoutVars>
      </dgm:prSet>
      <dgm:spPr/>
    </dgm:pt>
    <dgm:pt modelId="{EEF5D298-4837-43F0-A5B7-B80D06448E12}" type="pres">
      <dgm:prSet presAssocID="{936352E9-3162-4CBF-A1CB-8241323A68E0}" presName="desTx" presStyleLbl="alignAccFollowNode1" presStyleIdx="3" presStyleCnt="4">
        <dgm:presLayoutVars>
          <dgm:bulletEnabled val="1"/>
        </dgm:presLayoutVars>
      </dgm:prSet>
      <dgm:spPr/>
    </dgm:pt>
  </dgm:ptLst>
  <dgm:cxnLst>
    <dgm:cxn modelId="{BE68D602-75FE-4723-AAF9-34FE73A5580B}" type="presOf" srcId="{2A78388C-FDF1-4100-B228-0E2A89197B96}" destId="{19E06B1F-2751-4E3B-87DF-B13BCDAE939E}" srcOrd="0" destOrd="0" presId="urn:microsoft.com/office/officeart/2005/8/layout/hList1"/>
    <dgm:cxn modelId="{AD204215-868B-4F48-8A0D-8D1BF10A9E18}" srcId="{A08AF667-3393-4192-B4DA-2B01666166C3}" destId="{312D3304-CDC6-4A42-9A57-0A68B63261A3}" srcOrd="1" destOrd="0" parTransId="{661FC67E-13CC-438E-BEB6-D6FF0609C7FE}" sibTransId="{EFA37578-FF9D-403C-A31B-A61731F5F6F1}"/>
    <dgm:cxn modelId="{B8582821-6CA2-40B5-A148-4BA3C4F65759}" srcId="{669B26E1-06E7-44DE-8720-787E787D0D17}" destId="{D57CE5D9-C4D9-4851-9120-7C54B7FB32DD}" srcOrd="0" destOrd="0" parTransId="{16DC87BC-FA69-4508-91D9-4061581EACA6}" sibTransId="{334FBEDE-EB8A-404A-A244-42D236732BA5}"/>
    <dgm:cxn modelId="{74BA6826-7062-4562-9387-044EAE4B0420}" srcId="{D57CE5D9-C4D9-4851-9120-7C54B7FB32DD}" destId="{2A78388C-FDF1-4100-B228-0E2A89197B96}" srcOrd="0" destOrd="0" parTransId="{8458A2CD-E6A4-40C9-845B-ED06F1FC3235}" sibTransId="{A2FC079A-2CC9-4765-B9C3-B91EAED819EC}"/>
    <dgm:cxn modelId="{63AD812D-C6DB-45BD-94F8-EE821C6F5B2E}" srcId="{936352E9-3162-4CBF-A1CB-8241323A68E0}" destId="{9C861184-866E-431C-8A12-702E019B9385}" srcOrd="2" destOrd="0" parTransId="{6D049C00-7D47-4BF1-8F52-65AE1449D408}" sibTransId="{72ED862A-4EAC-4078-9F32-23A8C8C1579A}"/>
    <dgm:cxn modelId="{790D8430-E335-486D-B738-5773A9EAA884}" type="presOf" srcId="{312D3304-CDC6-4A42-9A57-0A68B63261A3}" destId="{F151E1D8-CB2C-4529-9938-92DDC158E374}" srcOrd="0" destOrd="1" presId="urn:microsoft.com/office/officeart/2005/8/layout/hList1"/>
    <dgm:cxn modelId="{04DD7437-CE0F-4633-9106-D6D91135FEFC}" type="presOf" srcId="{9C861184-866E-431C-8A12-702E019B9385}" destId="{EEF5D298-4837-43F0-A5B7-B80D06448E12}" srcOrd="0" destOrd="2" presId="urn:microsoft.com/office/officeart/2005/8/layout/hList1"/>
    <dgm:cxn modelId="{B2CBFF37-296E-4300-8295-F10C938F901B}" srcId="{669B26E1-06E7-44DE-8720-787E787D0D17}" destId="{A08AF667-3393-4192-B4DA-2B01666166C3}" srcOrd="2" destOrd="0" parTransId="{E6059BDB-B815-4057-A589-912FB4AEE725}" sibTransId="{7ABFDC22-B966-432D-B1C2-2CCF4F0D7204}"/>
    <dgm:cxn modelId="{D7FEC45F-F429-4E8E-AEDD-119C1D7D667A}" type="presOf" srcId="{C194BA93-7DA6-42D2-AAF7-691EDF8F652C}" destId="{EEF5D298-4837-43F0-A5B7-B80D06448E12}" srcOrd="0" destOrd="0" presId="urn:microsoft.com/office/officeart/2005/8/layout/hList1"/>
    <dgm:cxn modelId="{CEC1BF42-0A3A-4088-8A40-EC10AC463BB5}" type="presOf" srcId="{A08AF667-3393-4192-B4DA-2B01666166C3}" destId="{41B42664-6618-486C-84E5-3F48973C6021}" srcOrd="0" destOrd="0" presId="urn:microsoft.com/office/officeart/2005/8/layout/hList1"/>
    <dgm:cxn modelId="{2DD18A51-E427-470B-BBEF-31D16A5FEA41}" srcId="{D57CE5D9-C4D9-4851-9120-7C54B7FB32DD}" destId="{4FE8F13F-3AA6-4D54-8957-1081B9E25EE4}" srcOrd="3" destOrd="0" parTransId="{0F07BDB7-7CB8-4860-87CE-A98BEA6D1A4D}" sibTransId="{98EDB3DC-1631-4E79-AB28-C84DE616679B}"/>
    <dgm:cxn modelId="{4F091356-ACA8-4005-8A4F-D58EAC493C62}" srcId="{669B26E1-06E7-44DE-8720-787E787D0D17}" destId="{936352E9-3162-4CBF-A1CB-8241323A68E0}" srcOrd="3" destOrd="0" parTransId="{7E96B895-2683-4B4A-A139-8B7AC268FD99}" sibTransId="{2D2F63C6-8D49-4CF4-B48C-CB7F0D34A9FC}"/>
    <dgm:cxn modelId="{8AB02E76-E3BF-4975-BC9F-8E17938EBCFE}" type="presOf" srcId="{936352E9-3162-4CBF-A1CB-8241323A68E0}" destId="{BFD9C967-81AA-4388-86B0-93EB26159C0C}" srcOrd="0" destOrd="0" presId="urn:microsoft.com/office/officeart/2005/8/layout/hList1"/>
    <dgm:cxn modelId="{3D94F659-4505-45F5-8EB3-ED214A0C9C41}" type="presOf" srcId="{4FE8F13F-3AA6-4D54-8957-1081B9E25EE4}" destId="{19E06B1F-2751-4E3B-87DF-B13BCDAE939E}" srcOrd="0" destOrd="3" presId="urn:microsoft.com/office/officeart/2005/8/layout/hList1"/>
    <dgm:cxn modelId="{4C36D17C-B568-4000-B32A-C166426CFF4B}" type="presOf" srcId="{F729D604-A69D-417C-BB86-7E5D83DF6F72}" destId="{C4FA218B-70B0-4B76-92B2-76EE3F4E3274}" srcOrd="0" destOrd="0" presId="urn:microsoft.com/office/officeart/2005/8/layout/hList1"/>
    <dgm:cxn modelId="{FFF8C88E-4A17-49CD-B756-04E0EF77EE4E}" srcId="{669B26E1-06E7-44DE-8720-787E787D0D17}" destId="{0AEDDB9C-8A62-4914-908B-F22B88DC0072}" srcOrd="1" destOrd="0" parTransId="{AF3B43FA-F870-4121-B468-C76B4A4CCFAC}" sibTransId="{554F8887-D19E-4FB4-BE23-3759931524ED}"/>
    <dgm:cxn modelId="{AEC4C99B-55BD-4C6F-8DD0-9B6669B3E84C}" type="presOf" srcId="{669B26E1-06E7-44DE-8720-787E787D0D17}" destId="{0C19831D-E030-48E9-ADD2-9A8D93BA1A4C}" srcOrd="0" destOrd="0" presId="urn:microsoft.com/office/officeart/2005/8/layout/hList1"/>
    <dgm:cxn modelId="{6516D2A4-C7E2-498B-8E9A-8B2DFB7DD0C8}" srcId="{936352E9-3162-4CBF-A1CB-8241323A68E0}" destId="{C194BA93-7DA6-42D2-AAF7-691EDF8F652C}" srcOrd="0" destOrd="0" parTransId="{424240C9-0B9B-4E58-8213-7988516D9A5C}" sibTransId="{E477056F-7B37-44FC-8598-CC34D3614D00}"/>
    <dgm:cxn modelId="{94C429B6-68C6-4458-BC8F-A0B5E154658B}" srcId="{D57CE5D9-C4D9-4851-9120-7C54B7FB32DD}" destId="{50928F9D-E027-46FF-8761-1D830ACA9D56}" srcOrd="2" destOrd="0" parTransId="{80810898-FA89-4A9B-BD8F-4637ED199419}" sibTransId="{65257F62-B763-4251-BA19-BE798E55ED40}"/>
    <dgm:cxn modelId="{858B92C1-BBE0-41E5-AC29-D08C2C86EF20}" type="presOf" srcId="{9C11DC5F-AF98-4B75-9234-A75FB07D9967}" destId="{EEF5D298-4837-43F0-A5B7-B80D06448E12}" srcOrd="0" destOrd="1" presId="urn:microsoft.com/office/officeart/2005/8/layout/hList1"/>
    <dgm:cxn modelId="{BE85CBC7-63A0-4D30-9D0C-56655EFBC55F}" srcId="{936352E9-3162-4CBF-A1CB-8241323A68E0}" destId="{9C11DC5F-AF98-4B75-9234-A75FB07D9967}" srcOrd="1" destOrd="0" parTransId="{F2A196AF-2E4E-4825-BFC8-D93969DDCB74}" sibTransId="{D4A408ED-DA6F-4C56-B0A9-727970C829D4}"/>
    <dgm:cxn modelId="{5B9E50D1-BEA2-4F70-AED2-7709ABD670A9}" srcId="{0AEDDB9C-8A62-4914-908B-F22B88DC0072}" destId="{F729D604-A69D-417C-BB86-7E5D83DF6F72}" srcOrd="0" destOrd="0" parTransId="{10E42426-83C8-46C0-A613-CE01FC37363A}" sibTransId="{9803ED44-A469-4311-ADBD-C335D86EE2A3}"/>
    <dgm:cxn modelId="{526E7FD3-072A-4A30-96C1-32B3FD6C4154}" type="presOf" srcId="{86CF1293-3DD9-4D83-8D97-3BB7719F995A}" destId="{19E06B1F-2751-4E3B-87DF-B13BCDAE939E}" srcOrd="0" destOrd="1" presId="urn:microsoft.com/office/officeart/2005/8/layout/hList1"/>
    <dgm:cxn modelId="{6C9C69E1-54D2-464B-9292-86821A38507F}" type="presOf" srcId="{6041D5B2-1C8B-4867-83CE-5F82BEBFE679}" destId="{F151E1D8-CB2C-4529-9938-92DDC158E374}" srcOrd="0" destOrd="0" presId="urn:microsoft.com/office/officeart/2005/8/layout/hList1"/>
    <dgm:cxn modelId="{CC574DE3-0B0D-488C-A175-6E93B81CD99D}" srcId="{D57CE5D9-C4D9-4851-9120-7C54B7FB32DD}" destId="{86CF1293-3DD9-4D83-8D97-3BB7719F995A}" srcOrd="1" destOrd="0" parTransId="{D13592E6-92BD-4E17-AB17-5CF2AAE40E27}" sibTransId="{D5B7B47D-C085-406B-870D-82961FEB611A}"/>
    <dgm:cxn modelId="{04C392E4-5393-4067-9F64-7C36D9584034}" srcId="{A08AF667-3393-4192-B4DA-2B01666166C3}" destId="{6041D5B2-1C8B-4867-83CE-5F82BEBFE679}" srcOrd="0" destOrd="0" parTransId="{23694B62-94CC-4A0E-8C3F-ACBF1A948B3F}" sibTransId="{E3B4AFD5-5911-4519-8F93-B3FE73FFA5F4}"/>
    <dgm:cxn modelId="{F7F425F2-81A9-4EF6-986C-F0778B3768E1}" type="presOf" srcId="{D57CE5D9-C4D9-4851-9120-7C54B7FB32DD}" destId="{F9BED6F5-EB3C-4C09-A486-F7E85C78C698}" srcOrd="0" destOrd="0" presId="urn:microsoft.com/office/officeart/2005/8/layout/hList1"/>
    <dgm:cxn modelId="{63BC35F4-B632-4F5D-BFC0-DA5AEED40601}" type="presOf" srcId="{50928F9D-E027-46FF-8761-1D830ACA9D56}" destId="{19E06B1F-2751-4E3B-87DF-B13BCDAE939E}" srcOrd="0" destOrd="2" presId="urn:microsoft.com/office/officeart/2005/8/layout/hList1"/>
    <dgm:cxn modelId="{0DE49EFC-BD85-4D58-9649-140B20F4049A}" type="presOf" srcId="{0AEDDB9C-8A62-4914-908B-F22B88DC0072}" destId="{1964FF85-FAC9-495E-AAD6-1F0291A76973}" srcOrd="0" destOrd="0" presId="urn:microsoft.com/office/officeart/2005/8/layout/hList1"/>
    <dgm:cxn modelId="{B158331D-F25A-4641-ADCD-3EE9B3FB7B71}" type="presParOf" srcId="{0C19831D-E030-48E9-ADD2-9A8D93BA1A4C}" destId="{C8CB86FE-3C3D-405B-AE9D-7752070B0866}" srcOrd="0" destOrd="0" presId="urn:microsoft.com/office/officeart/2005/8/layout/hList1"/>
    <dgm:cxn modelId="{4596E2D3-7EAA-444A-8E4B-8C487F731364}" type="presParOf" srcId="{C8CB86FE-3C3D-405B-AE9D-7752070B0866}" destId="{F9BED6F5-EB3C-4C09-A486-F7E85C78C698}" srcOrd="0" destOrd="0" presId="urn:microsoft.com/office/officeart/2005/8/layout/hList1"/>
    <dgm:cxn modelId="{1477D647-88AA-4EAB-840F-FC8DDF6C7CB8}" type="presParOf" srcId="{C8CB86FE-3C3D-405B-AE9D-7752070B0866}" destId="{19E06B1F-2751-4E3B-87DF-B13BCDAE939E}" srcOrd="1" destOrd="0" presId="urn:microsoft.com/office/officeart/2005/8/layout/hList1"/>
    <dgm:cxn modelId="{2528E043-85AD-4D98-86B7-8B62E5D19349}" type="presParOf" srcId="{0C19831D-E030-48E9-ADD2-9A8D93BA1A4C}" destId="{98B3DA37-0FAB-447E-96EB-92E3A68BA65F}" srcOrd="1" destOrd="0" presId="urn:microsoft.com/office/officeart/2005/8/layout/hList1"/>
    <dgm:cxn modelId="{4802C9DD-106B-4C1E-B93C-C95B936E3D2E}" type="presParOf" srcId="{0C19831D-E030-48E9-ADD2-9A8D93BA1A4C}" destId="{A09CC9AA-806B-4DFA-90AA-1483200AC223}" srcOrd="2" destOrd="0" presId="urn:microsoft.com/office/officeart/2005/8/layout/hList1"/>
    <dgm:cxn modelId="{8E2200C0-84EE-4C5F-8166-96576E21CDA4}" type="presParOf" srcId="{A09CC9AA-806B-4DFA-90AA-1483200AC223}" destId="{1964FF85-FAC9-495E-AAD6-1F0291A76973}" srcOrd="0" destOrd="0" presId="urn:microsoft.com/office/officeart/2005/8/layout/hList1"/>
    <dgm:cxn modelId="{463236EE-AC30-40E8-B33F-3883F265E9BB}" type="presParOf" srcId="{A09CC9AA-806B-4DFA-90AA-1483200AC223}" destId="{C4FA218B-70B0-4B76-92B2-76EE3F4E3274}" srcOrd="1" destOrd="0" presId="urn:microsoft.com/office/officeart/2005/8/layout/hList1"/>
    <dgm:cxn modelId="{EA9B1B12-43CC-441D-8F67-EC4906BE413E}" type="presParOf" srcId="{0C19831D-E030-48E9-ADD2-9A8D93BA1A4C}" destId="{8978E874-D1B0-4F6C-9532-FD74D234D8AB}" srcOrd="3" destOrd="0" presId="urn:microsoft.com/office/officeart/2005/8/layout/hList1"/>
    <dgm:cxn modelId="{AC4AE3F2-B245-44C5-B6ED-544F0F56CCBD}" type="presParOf" srcId="{0C19831D-E030-48E9-ADD2-9A8D93BA1A4C}" destId="{7801FEE2-2457-4DAA-B723-D309ABC0933B}" srcOrd="4" destOrd="0" presId="urn:microsoft.com/office/officeart/2005/8/layout/hList1"/>
    <dgm:cxn modelId="{B6E0ECEE-0AB0-47FB-9004-B2E6E469EB24}" type="presParOf" srcId="{7801FEE2-2457-4DAA-B723-D309ABC0933B}" destId="{41B42664-6618-486C-84E5-3F48973C6021}" srcOrd="0" destOrd="0" presId="urn:microsoft.com/office/officeart/2005/8/layout/hList1"/>
    <dgm:cxn modelId="{C7445906-4C36-4EA2-AE36-A3F49A2A071C}" type="presParOf" srcId="{7801FEE2-2457-4DAA-B723-D309ABC0933B}" destId="{F151E1D8-CB2C-4529-9938-92DDC158E374}" srcOrd="1" destOrd="0" presId="urn:microsoft.com/office/officeart/2005/8/layout/hList1"/>
    <dgm:cxn modelId="{50902B90-4F59-495A-AB0B-85EA045E176B}" type="presParOf" srcId="{0C19831D-E030-48E9-ADD2-9A8D93BA1A4C}" destId="{13FA64C5-0D43-45D8-9045-1AFCE4B767FF}" srcOrd="5" destOrd="0" presId="urn:microsoft.com/office/officeart/2005/8/layout/hList1"/>
    <dgm:cxn modelId="{66DD0EF4-8835-4A49-8F81-113BD5915EF1}" type="presParOf" srcId="{0C19831D-E030-48E9-ADD2-9A8D93BA1A4C}" destId="{C77DC017-43A9-4841-B96D-577DCE250532}" srcOrd="6" destOrd="0" presId="urn:microsoft.com/office/officeart/2005/8/layout/hList1"/>
    <dgm:cxn modelId="{C2281865-61D0-4FCF-A6B3-60863007425D}" type="presParOf" srcId="{C77DC017-43A9-4841-B96D-577DCE250532}" destId="{BFD9C967-81AA-4388-86B0-93EB26159C0C}" srcOrd="0" destOrd="0" presId="urn:microsoft.com/office/officeart/2005/8/layout/hList1"/>
    <dgm:cxn modelId="{88987556-47E1-4414-A462-FE224679BF00}" type="presParOf" srcId="{C77DC017-43A9-4841-B96D-577DCE250532}" destId="{EEF5D298-4837-43F0-A5B7-B80D06448E1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D652B20-F841-4652-83BF-D525406A37F6}"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E"/>
        </a:p>
      </dgm:t>
    </dgm:pt>
    <dgm:pt modelId="{8D534F85-772B-419F-9C37-6D9D93B42E43}">
      <dgm:prSet phldrT="[Text]" custT="1"/>
      <dgm:spPr/>
      <dgm:t>
        <a:bodyPr/>
        <a:lstStyle/>
        <a:p>
          <a:pPr>
            <a:buFont typeface="Arial" panose="020B0604020202020204" pitchFamily="34" charset="0"/>
            <a:buChar char="•"/>
          </a:pPr>
          <a:r>
            <a:rPr lang="en-IE" sz="11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Environmental Health &amp; Safety (EH&amp;S)</a:t>
          </a:r>
          <a:endParaRPr lang="en-IE" sz="1100" dirty="0">
            <a:solidFill>
              <a:schemeClr val="bg1"/>
            </a:solidFill>
          </a:endParaRPr>
        </a:p>
      </dgm:t>
    </dgm:pt>
    <dgm:pt modelId="{317BD5B6-DB5A-4B25-B060-D59044DCF0EB}" type="parTrans" cxnId="{6D469493-E046-44A7-85CF-8A378FC036FD}">
      <dgm:prSet/>
      <dgm:spPr/>
      <dgm:t>
        <a:bodyPr/>
        <a:lstStyle/>
        <a:p>
          <a:endParaRPr lang="en-IE" sz="1800"/>
        </a:p>
      </dgm:t>
    </dgm:pt>
    <dgm:pt modelId="{71BC37EF-032E-4D84-BE1D-28E01418C9B4}" type="sibTrans" cxnId="{6D469493-E046-44A7-85CF-8A378FC036FD}">
      <dgm:prSet/>
      <dgm:spPr/>
      <dgm:t>
        <a:bodyPr/>
        <a:lstStyle/>
        <a:p>
          <a:endParaRPr lang="en-IE" sz="1800"/>
        </a:p>
      </dgm:t>
    </dgm:pt>
    <dgm:pt modelId="{92D616E1-A57E-4FCD-9083-96083FE1A1E9}">
      <dgm:prSet phldrT="[Tex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r>
            <a:rPr lang="en-GB" sz="1200" b="1" kern="1200" dirty="0"/>
            <a:t>EH&amp;S </a:t>
          </a:r>
          <a:r>
            <a:rPr lang="en-GB" sz="1200" kern="1200" dirty="0"/>
            <a:t>The EH&amp;S playbook describes how TE sites are expected to manage EH&amp;S and the </a:t>
          </a:r>
          <a:r>
            <a:rPr lang="en-GB" sz="1200" dirty="0"/>
            <a:t>components of the EH&amp;S program. </a:t>
          </a:r>
          <a:endParaRPr lang="en-IE" sz="1200" i="1" kern="1200" dirty="0">
            <a:solidFill>
              <a:schemeClr val="tx1"/>
            </a:solidFill>
            <a:latin typeface="Arial"/>
            <a:ea typeface="Arial"/>
            <a:cs typeface="Arial"/>
          </a:endParaRPr>
        </a:p>
      </dgm:t>
    </dgm:pt>
    <dgm:pt modelId="{7AA75314-EC43-448C-B408-63CDB0472CCB}" type="parTrans" cxnId="{BB5844AD-E514-478D-9EA4-18DE568B7630}">
      <dgm:prSet/>
      <dgm:spPr/>
      <dgm:t>
        <a:bodyPr/>
        <a:lstStyle/>
        <a:p>
          <a:endParaRPr lang="en-IE" sz="1800"/>
        </a:p>
      </dgm:t>
    </dgm:pt>
    <dgm:pt modelId="{56617924-827D-4EF3-ADD2-68801CEC02F9}" type="sibTrans" cxnId="{BB5844AD-E514-478D-9EA4-18DE568B7630}">
      <dgm:prSet/>
      <dgm:spPr/>
      <dgm:t>
        <a:bodyPr/>
        <a:lstStyle/>
        <a:p>
          <a:endParaRPr lang="en-IE" sz="1800"/>
        </a:p>
      </dgm:t>
    </dgm:pt>
    <dgm:pt modelId="{70DC29AA-3C98-443C-AB42-DF7C1F3F3671}">
      <dgm:prSet phldrT="[Text]" custT="1"/>
      <dgm:spPr/>
      <dgm:t>
        <a:bodyPr/>
        <a:lstStyle/>
        <a:p>
          <a:r>
            <a:rPr lang="en-IE" sz="1100" dirty="0">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Quality Foundations </a:t>
          </a:r>
          <a:endParaRPr lang="en-IE" sz="1100" dirty="0">
            <a:solidFill>
              <a:schemeClr val="bg1"/>
            </a:solidFill>
          </a:endParaRPr>
        </a:p>
      </dgm:t>
    </dgm:pt>
    <dgm:pt modelId="{5ECE7E73-9635-497A-B633-1CC312192B94}" type="parTrans" cxnId="{87E45E1E-6974-4A87-B5F7-60001BE669C3}">
      <dgm:prSet/>
      <dgm:spPr/>
      <dgm:t>
        <a:bodyPr/>
        <a:lstStyle/>
        <a:p>
          <a:endParaRPr lang="en-IE" sz="1800"/>
        </a:p>
      </dgm:t>
    </dgm:pt>
    <dgm:pt modelId="{6D25BBB2-2EAE-44AC-AADD-0226B1719A16}" type="sibTrans" cxnId="{87E45E1E-6974-4A87-B5F7-60001BE669C3}">
      <dgm:prSet/>
      <dgm:spPr/>
      <dgm:t>
        <a:bodyPr/>
        <a:lstStyle/>
        <a:p>
          <a:endParaRPr lang="en-IE" sz="1800"/>
        </a:p>
      </dgm:t>
    </dgm:pt>
    <dgm:pt modelId="{09048B74-AA88-4985-964B-B74A9D0A5EBA}">
      <dgm:prSet phldrT="[Text]" custT="1"/>
      <dgm:spPr/>
      <dgm:t>
        <a:bodyPr/>
        <a:lstStyle/>
        <a:p>
          <a:r>
            <a:rPr lang="en-GB" sz="1200" b="1" kern="1200" dirty="0"/>
            <a:t>Quality Foundations </a:t>
          </a:r>
          <a:r>
            <a:rPr lang="en-GB" sz="1200" kern="1200" dirty="0"/>
            <a:t>is comprised of two sub tools, Fast Response &amp; QMS.</a:t>
          </a:r>
          <a:endParaRPr lang="en-IE" sz="1200" kern="1200" dirty="0"/>
        </a:p>
      </dgm:t>
    </dgm:pt>
    <dgm:pt modelId="{0C7BD0D5-097A-42DF-8FE8-C0BCD62CD096}" type="parTrans" cxnId="{34D76783-74F2-4EC8-B418-384C37079A6B}">
      <dgm:prSet/>
      <dgm:spPr/>
      <dgm:t>
        <a:bodyPr/>
        <a:lstStyle/>
        <a:p>
          <a:endParaRPr lang="en-IE" sz="1800"/>
        </a:p>
      </dgm:t>
    </dgm:pt>
    <dgm:pt modelId="{17ACB3FA-9185-4628-A12D-74C14C170626}" type="sibTrans" cxnId="{34D76783-74F2-4EC8-B418-384C37079A6B}">
      <dgm:prSet/>
      <dgm:spPr/>
      <dgm:t>
        <a:bodyPr/>
        <a:lstStyle/>
        <a:p>
          <a:endParaRPr lang="en-IE" sz="1800"/>
        </a:p>
      </dgm:t>
    </dgm:pt>
    <dgm:pt modelId="{906F968F-7C70-448B-A7DD-E055BD6C851B}">
      <dgm:prSet phldrT="[Text]" custT="1"/>
      <dgm:spPr/>
      <dgm:t>
        <a:bodyPr/>
        <a:lstStyle/>
        <a:p>
          <a:pPr>
            <a:buFont typeface="Arial" panose="020B0604020202020204" pitchFamily="34" charset="0"/>
            <a:buChar char="•"/>
          </a:pPr>
          <a:r>
            <a:rPr lang="en-IE" sz="1100" dirty="0">
              <a:solidFill>
                <a:schemeClr val="bg1"/>
              </a:solidFill>
              <a:hlinkClick xmlns:r="http://schemas.openxmlformats.org/officeDocument/2006/relationships" r:id="rId3">
                <a:extLst>
                  <a:ext uri="{A12FA001-AC4F-418D-AE19-62706E023703}">
                    <ahyp:hlinkClr xmlns:ahyp="http://schemas.microsoft.com/office/drawing/2018/hyperlinkcolor" val="tx"/>
                  </a:ext>
                </a:extLst>
              </a:hlinkClick>
            </a:rPr>
            <a:t>5S &amp; Visual Management</a:t>
          </a:r>
          <a:endParaRPr lang="en-IE" sz="1100" dirty="0">
            <a:solidFill>
              <a:schemeClr val="bg1"/>
            </a:solidFill>
          </a:endParaRPr>
        </a:p>
      </dgm:t>
    </dgm:pt>
    <dgm:pt modelId="{CA47CF29-EC55-4C15-AE95-E47A9F9C7451}" type="parTrans" cxnId="{603AEFE9-E0CB-46D9-9116-63BDEDEE1EFE}">
      <dgm:prSet/>
      <dgm:spPr/>
      <dgm:t>
        <a:bodyPr/>
        <a:lstStyle/>
        <a:p>
          <a:endParaRPr lang="en-IE" sz="1800"/>
        </a:p>
      </dgm:t>
    </dgm:pt>
    <dgm:pt modelId="{DEE662FC-85E4-4934-A0C6-560791CEC88F}" type="sibTrans" cxnId="{603AEFE9-E0CB-46D9-9116-63BDEDEE1EFE}">
      <dgm:prSet/>
      <dgm:spPr/>
      <dgm:t>
        <a:bodyPr/>
        <a:lstStyle/>
        <a:p>
          <a:endParaRPr lang="en-IE" sz="1800"/>
        </a:p>
      </dgm:t>
    </dgm:pt>
    <dgm:pt modelId="{9FF530EC-0EF3-44D7-9C63-E773A787799C}">
      <dgm:prSet phldrT="[Text]" custT="1"/>
      <dgm:spPr/>
      <dgm:t>
        <a:bodyPr/>
        <a:lstStyle/>
        <a:p>
          <a:r>
            <a:rPr lang="en-IE" sz="1000" dirty="0"/>
            <a:t>The purpose of a TPM program is to enhance equipment to ‘like-new’ condition. TPM also aims to engage workers in continuous improvement efforts to reduce machine down time and  ensure maximum machine availability. </a:t>
          </a:r>
        </a:p>
      </dgm:t>
    </dgm:pt>
    <dgm:pt modelId="{7C47513D-4857-41F5-A40F-9AF46FA97C42}" type="parTrans" cxnId="{3D9F5AE8-3081-46FA-A9E6-86450904FA8A}">
      <dgm:prSet/>
      <dgm:spPr/>
      <dgm:t>
        <a:bodyPr/>
        <a:lstStyle/>
        <a:p>
          <a:endParaRPr lang="en-IE" sz="1800"/>
        </a:p>
      </dgm:t>
    </dgm:pt>
    <dgm:pt modelId="{CE636F3A-A29A-4741-84D8-73C7B147AC40}" type="sibTrans" cxnId="{3D9F5AE8-3081-46FA-A9E6-86450904FA8A}">
      <dgm:prSet/>
      <dgm:spPr/>
      <dgm:t>
        <a:bodyPr/>
        <a:lstStyle/>
        <a:p>
          <a:endParaRPr lang="en-IE" sz="1800"/>
        </a:p>
      </dgm:t>
    </dgm:pt>
    <dgm:pt modelId="{D02A4350-8BB0-4E93-B662-4387AB449984}">
      <dgm:prSet phldrT="[Text]" custT="1"/>
      <dgm:spPr/>
      <dgm:t>
        <a:bodyPr/>
        <a:lstStyle/>
        <a:p>
          <a:r>
            <a:rPr lang="en-IE" sz="1100"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Total Productive Maintenance </a:t>
          </a:r>
          <a:endParaRPr lang="en-IE" sz="1100" dirty="0">
            <a:solidFill>
              <a:schemeClr val="bg1"/>
            </a:solidFill>
          </a:endParaRPr>
        </a:p>
      </dgm:t>
    </dgm:pt>
    <dgm:pt modelId="{376559F2-BEE1-4769-8FB3-0A7EF5D42BA7}" type="parTrans" cxnId="{1C0A03AA-75F9-4FDF-B709-A3678D31903C}">
      <dgm:prSet/>
      <dgm:spPr/>
      <dgm:t>
        <a:bodyPr/>
        <a:lstStyle/>
        <a:p>
          <a:endParaRPr lang="en-IE" sz="1800"/>
        </a:p>
      </dgm:t>
    </dgm:pt>
    <dgm:pt modelId="{37BE744A-E30B-47BE-85DB-96DCB26FD4B4}" type="sibTrans" cxnId="{1C0A03AA-75F9-4FDF-B709-A3678D31903C}">
      <dgm:prSet/>
      <dgm:spPr/>
      <dgm:t>
        <a:bodyPr/>
        <a:lstStyle/>
        <a:p>
          <a:endParaRPr lang="en-IE" sz="1800"/>
        </a:p>
      </dgm:t>
    </dgm:pt>
    <dgm:pt modelId="{0ABD87C5-3021-4699-9908-801C11F1FA9A}">
      <dgm:prSet phldrT="[Text]" custT="1"/>
      <dgm:spPr/>
      <dgm:t>
        <a:bodyPr/>
        <a:lstStyle/>
        <a:p>
          <a:r>
            <a:rPr lang="en-IE" sz="11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Process Improvement Management </a:t>
          </a:r>
          <a:endParaRPr lang="en-IE" sz="1100" dirty="0">
            <a:solidFill>
              <a:schemeClr val="bg1"/>
            </a:solidFill>
          </a:endParaRPr>
        </a:p>
      </dgm:t>
    </dgm:pt>
    <dgm:pt modelId="{19980EA7-988F-4EC0-8732-C48376382780}" type="parTrans" cxnId="{DCAAD83F-5832-4F61-983E-7B785C0FF4AE}">
      <dgm:prSet/>
      <dgm:spPr/>
      <dgm:t>
        <a:bodyPr/>
        <a:lstStyle/>
        <a:p>
          <a:endParaRPr lang="en-IE" sz="1800"/>
        </a:p>
      </dgm:t>
    </dgm:pt>
    <dgm:pt modelId="{1E02D7D6-0D99-40B8-9F9E-2CC52593DF5D}" type="sibTrans" cxnId="{DCAAD83F-5832-4F61-983E-7B785C0FF4AE}">
      <dgm:prSet/>
      <dgm:spPr/>
      <dgm:t>
        <a:bodyPr/>
        <a:lstStyle/>
        <a:p>
          <a:endParaRPr lang="en-IE" sz="1800"/>
        </a:p>
      </dgm:t>
    </dgm:pt>
    <dgm:pt modelId="{D5FC23E3-49CF-41AC-A433-73CEF19C6E9A}">
      <dgm:prSet phldrT="[Text]" custT="1"/>
      <dgm:spPr/>
      <dgm:t>
        <a:bodyPr/>
        <a:lstStyle/>
        <a:p>
          <a:r>
            <a:rPr lang="en-IE" sz="1000" b="1" dirty="0"/>
            <a:t>5S</a:t>
          </a:r>
          <a:r>
            <a:rPr lang="en-IE" sz="1000" dirty="0"/>
            <a:t> is a structured approach designed to cause workplace organization and process optimization by developing a culture of discipline and order. </a:t>
          </a:r>
        </a:p>
      </dgm:t>
    </dgm:pt>
    <dgm:pt modelId="{33AB32D4-9F1C-4963-A695-4B9CD640AFD0}" type="parTrans" cxnId="{54A9F04F-2628-480B-ADAE-72B138A1E62F}">
      <dgm:prSet/>
      <dgm:spPr/>
      <dgm:t>
        <a:bodyPr/>
        <a:lstStyle/>
        <a:p>
          <a:endParaRPr lang="en-IE" sz="1800"/>
        </a:p>
      </dgm:t>
    </dgm:pt>
    <dgm:pt modelId="{4934BE06-BDAD-46C8-9D96-33B8F5E98494}" type="sibTrans" cxnId="{54A9F04F-2628-480B-ADAE-72B138A1E62F}">
      <dgm:prSet/>
      <dgm:spPr/>
      <dgm:t>
        <a:bodyPr/>
        <a:lstStyle/>
        <a:p>
          <a:endParaRPr lang="en-IE" sz="1800"/>
        </a:p>
      </dgm:t>
    </dgm:pt>
    <dgm:pt modelId="{E35003C8-3BCF-42A6-AC62-2A9CB6088867}">
      <dgm:prSet phldrT="[Text]" custT="1"/>
      <dgm:spPr/>
      <dgm:t>
        <a:bodyPr/>
        <a:lstStyle/>
        <a:p>
          <a:r>
            <a:rPr lang="en-IE" sz="1000" dirty="0"/>
            <a:t>PIM </a:t>
          </a:r>
          <a:r>
            <a:rPr lang="en-US" sz="1000" dirty="0"/>
            <a:t>is the </a:t>
          </a:r>
          <a:r>
            <a:rPr lang="en-US" sz="1000" b="1" dirty="0"/>
            <a:t>Management Operating System</a:t>
          </a:r>
          <a:r>
            <a:rPr lang="en-US" sz="1000" dirty="0"/>
            <a:t> in a Lean environment and</a:t>
          </a:r>
          <a:r>
            <a:rPr lang="en-IE" sz="1000" dirty="0"/>
            <a:t> is the driver of a continuous improvement culture and enables the sustainment of process improvements over time.</a:t>
          </a:r>
        </a:p>
      </dgm:t>
    </dgm:pt>
    <dgm:pt modelId="{53D1A85A-C3C3-435D-81AD-517AF13282FE}" type="parTrans" cxnId="{97EA27CD-B186-497D-BC11-E6F6B94AC1AD}">
      <dgm:prSet/>
      <dgm:spPr/>
      <dgm:t>
        <a:bodyPr/>
        <a:lstStyle/>
        <a:p>
          <a:endParaRPr lang="en-IE" sz="1800"/>
        </a:p>
      </dgm:t>
    </dgm:pt>
    <dgm:pt modelId="{0FCD1B4B-901A-469C-890F-0C28CCBF4408}" type="sibTrans" cxnId="{97EA27CD-B186-497D-BC11-E6F6B94AC1AD}">
      <dgm:prSet/>
      <dgm:spPr/>
      <dgm:t>
        <a:bodyPr/>
        <a:lstStyle/>
        <a:p>
          <a:endParaRPr lang="en-IE" sz="1800"/>
        </a:p>
      </dgm:t>
    </dgm:pt>
    <dgm:pt modelId="{18717FF7-2F28-45E9-8FAC-3EBC22250EAB}">
      <dgm:prSet phldrT="[Text]" custT="1"/>
      <dgm:spPr/>
      <dgm:t>
        <a:bodyPr/>
        <a:lstStyle/>
        <a:p>
          <a:r>
            <a:rPr lang="en-IE" sz="1200" b="1" kern="1200" dirty="0"/>
            <a:t>Fast Response: </a:t>
          </a:r>
          <a:r>
            <a:rPr lang="en-GB" sz="1200" i="1" kern="1200" dirty="0">
              <a:ea typeface="+mn-lt"/>
              <a:cs typeface="+mn-lt"/>
            </a:rPr>
            <a:t>A standardized process that focuses on the speed and effectiveness of our response to quality failures or concerns.</a:t>
          </a:r>
          <a:endParaRPr lang="en-IE" sz="1200" kern="1200" dirty="0"/>
        </a:p>
      </dgm:t>
    </dgm:pt>
    <dgm:pt modelId="{9A00CD8B-47BF-4FB3-BE69-3F063CD112E8}" type="parTrans" cxnId="{123B57AA-F617-493A-ABB4-094AB70227E8}">
      <dgm:prSet/>
      <dgm:spPr/>
      <dgm:t>
        <a:bodyPr/>
        <a:lstStyle/>
        <a:p>
          <a:endParaRPr lang="en-IE" sz="1800"/>
        </a:p>
      </dgm:t>
    </dgm:pt>
    <dgm:pt modelId="{F5781B25-D91D-4FCA-AEDF-D16302554827}" type="sibTrans" cxnId="{123B57AA-F617-493A-ABB4-094AB70227E8}">
      <dgm:prSet/>
      <dgm:spPr/>
      <dgm:t>
        <a:bodyPr/>
        <a:lstStyle/>
        <a:p>
          <a:endParaRPr lang="en-IE" sz="1800"/>
        </a:p>
      </dgm:t>
    </dgm:pt>
    <dgm:pt modelId="{79D71674-84A8-4C10-951D-CC2ACC5B5362}">
      <dgm:prSet phldrT="[Text]" custT="1"/>
      <dgm:spPr/>
      <dgm:t>
        <a:bodyPr/>
        <a:lstStyle/>
        <a:p>
          <a:r>
            <a:rPr lang="en-IE" sz="1200" b="1" kern="1200" dirty="0"/>
            <a:t>QMS: </a:t>
          </a:r>
          <a:r>
            <a:rPr lang="en-GB" sz="1200" i="1" kern="1200" dirty="0">
              <a:solidFill>
                <a:srgbClr val="666666">
                  <a:hueOff val="0"/>
                  <a:satOff val="0"/>
                  <a:lumOff val="0"/>
                  <a:alphaOff val="0"/>
                </a:srgbClr>
              </a:solidFill>
              <a:latin typeface="Arial"/>
              <a:ea typeface="Arial"/>
              <a:cs typeface="Arial"/>
            </a:rPr>
            <a:t>The basis for analysing customer requirements, defining the processes that contribute to the achievement of a product or service that is acceptable to the customer, and provisions for keeping these processes in control.</a:t>
          </a:r>
          <a:endParaRPr lang="en-IE" sz="1200" i="1" kern="1200" dirty="0">
            <a:solidFill>
              <a:srgbClr val="666666">
                <a:hueOff val="0"/>
                <a:satOff val="0"/>
                <a:lumOff val="0"/>
                <a:alphaOff val="0"/>
              </a:srgbClr>
            </a:solidFill>
            <a:latin typeface="Arial"/>
            <a:ea typeface="Arial"/>
            <a:cs typeface="Arial"/>
          </a:endParaRPr>
        </a:p>
      </dgm:t>
    </dgm:pt>
    <dgm:pt modelId="{E8AA0592-8F75-4607-8AA4-E073C7DC834E}" type="parTrans" cxnId="{AB50B057-C336-46E5-98B5-DDBE346CF5D8}">
      <dgm:prSet/>
      <dgm:spPr/>
      <dgm:t>
        <a:bodyPr/>
        <a:lstStyle/>
        <a:p>
          <a:endParaRPr lang="en-IE" sz="1800"/>
        </a:p>
      </dgm:t>
    </dgm:pt>
    <dgm:pt modelId="{8F41E493-C231-48AD-B43D-87A8FD326B1B}" type="sibTrans" cxnId="{AB50B057-C336-46E5-98B5-DDBE346CF5D8}">
      <dgm:prSet/>
      <dgm:spPr/>
      <dgm:t>
        <a:bodyPr/>
        <a:lstStyle/>
        <a:p>
          <a:endParaRPr lang="en-IE" sz="1800"/>
        </a:p>
      </dgm:t>
    </dgm:pt>
    <dgm:pt modelId="{E31C1F5A-1367-42B4-B4CF-6F85E694CC70}">
      <dgm:prSet phldrT="[Text]" custT="1"/>
      <dgm:spPr/>
      <dgm:t>
        <a:bodyPr/>
        <a:lstStyle/>
        <a:p>
          <a:endParaRPr lang="en-IE" sz="1200" kern="1200" dirty="0"/>
        </a:p>
      </dgm:t>
    </dgm:pt>
    <dgm:pt modelId="{5EBF32F7-2A26-4BB5-8300-B9A1765728B3}" type="parTrans" cxnId="{4B6E8576-843A-46AF-A14D-965CC5E1A066}">
      <dgm:prSet/>
      <dgm:spPr/>
      <dgm:t>
        <a:bodyPr/>
        <a:lstStyle/>
        <a:p>
          <a:endParaRPr lang="en-IE" sz="1800"/>
        </a:p>
      </dgm:t>
    </dgm:pt>
    <dgm:pt modelId="{77043AB7-7AB2-4CCE-A96B-E9F700D7C196}" type="sibTrans" cxnId="{4B6E8576-843A-46AF-A14D-965CC5E1A066}">
      <dgm:prSet/>
      <dgm:spPr/>
      <dgm:t>
        <a:bodyPr/>
        <a:lstStyle/>
        <a:p>
          <a:endParaRPr lang="en-IE" sz="1800"/>
        </a:p>
      </dgm:t>
    </dgm:pt>
    <dgm:pt modelId="{0594C313-0028-4595-93EC-72140F8F3B6A}">
      <dgm:prSet phldrT="[Text]" custT="1"/>
      <dgm:spPr/>
      <dgm:t>
        <a:bodyPr/>
        <a:lstStyle/>
        <a:p>
          <a:endParaRPr lang="en-IE" sz="1200" kern="1200" dirty="0"/>
        </a:p>
      </dgm:t>
    </dgm:pt>
    <dgm:pt modelId="{24E380DA-9350-4C98-8C06-11A2E1BDEEFE}" type="parTrans" cxnId="{326F9B54-F5CF-4807-B325-26C0E3A092CF}">
      <dgm:prSet/>
      <dgm:spPr/>
      <dgm:t>
        <a:bodyPr/>
        <a:lstStyle/>
        <a:p>
          <a:endParaRPr lang="en-IE" sz="1800"/>
        </a:p>
      </dgm:t>
    </dgm:pt>
    <dgm:pt modelId="{1E3E60DA-F53C-468A-B87F-A3321A826994}" type="sibTrans" cxnId="{326F9B54-F5CF-4807-B325-26C0E3A092CF}">
      <dgm:prSet/>
      <dgm:spPr/>
      <dgm:t>
        <a:bodyPr/>
        <a:lstStyle/>
        <a:p>
          <a:endParaRPr lang="en-IE" sz="1800"/>
        </a:p>
      </dgm:t>
    </dgm:pt>
    <dgm:pt modelId="{0E86D3C3-EC07-408D-A95F-4FE28D77C9DD}">
      <dgm:prSet phldrT="[Text]" custT="1"/>
      <dgm:spPr/>
      <dgm:t>
        <a:bodyPr/>
        <a:lstStyle/>
        <a:p>
          <a:r>
            <a:rPr lang="en-IE" sz="1000" dirty="0"/>
            <a:t>One of the first tools as implementation is relatively easy and serves as both a “quick win” and as an opportunity for shop floor supervisors and operators to “own” it. </a:t>
          </a:r>
        </a:p>
      </dgm:t>
    </dgm:pt>
    <dgm:pt modelId="{28029D38-CDC3-40B9-82E3-BC3914F6E9E2}" type="parTrans" cxnId="{FC29E441-9EB9-4F3F-B340-C456F4CB229C}">
      <dgm:prSet/>
      <dgm:spPr/>
      <dgm:t>
        <a:bodyPr/>
        <a:lstStyle/>
        <a:p>
          <a:endParaRPr lang="en-IE" sz="1800"/>
        </a:p>
      </dgm:t>
    </dgm:pt>
    <dgm:pt modelId="{B281EE2C-9943-4888-B003-0DFCAD741732}" type="sibTrans" cxnId="{FC29E441-9EB9-4F3F-B340-C456F4CB229C}">
      <dgm:prSet/>
      <dgm:spPr/>
      <dgm:t>
        <a:bodyPr/>
        <a:lstStyle/>
        <a:p>
          <a:endParaRPr lang="en-IE" sz="1800"/>
        </a:p>
      </dgm:t>
    </dgm:pt>
    <dgm:pt modelId="{9FABD96A-C4BE-4D95-A7E4-79291D0876F0}">
      <dgm:prSet phldrT="[Text]" custT="1"/>
      <dgm:spPr/>
      <dgm:t>
        <a:bodyPr/>
        <a:lstStyle/>
        <a:p>
          <a:r>
            <a:rPr lang="en-IE" sz="1000" dirty="0"/>
            <a:t>The 5 S’s are: Sort, Set In Order, Shine, Standardize &amp; Sustain</a:t>
          </a:r>
        </a:p>
      </dgm:t>
    </dgm:pt>
    <dgm:pt modelId="{5701A7C8-58BB-4ADB-B3B3-99BF4F21F873}" type="parTrans" cxnId="{3D9F236D-0BC4-41F8-A430-24344A9DEDF3}">
      <dgm:prSet/>
      <dgm:spPr/>
      <dgm:t>
        <a:bodyPr/>
        <a:lstStyle/>
        <a:p>
          <a:endParaRPr lang="en-IE" sz="1800"/>
        </a:p>
      </dgm:t>
    </dgm:pt>
    <dgm:pt modelId="{E98D92B3-2FD3-4652-A70B-9D812F856A98}" type="sibTrans" cxnId="{3D9F236D-0BC4-41F8-A430-24344A9DEDF3}">
      <dgm:prSet/>
      <dgm:spPr/>
      <dgm:t>
        <a:bodyPr/>
        <a:lstStyle/>
        <a:p>
          <a:endParaRPr lang="en-IE" sz="1800"/>
        </a:p>
      </dgm:t>
    </dgm:pt>
    <dgm:pt modelId="{7DFAE732-F24C-460A-A331-49243231F61A}">
      <dgm:prSet phldrT="[Text]" custT="1"/>
      <dgm:spPr/>
      <dgm:t>
        <a:bodyPr/>
        <a:lstStyle/>
        <a:p>
          <a:r>
            <a:rPr lang="en-IE" sz="1000" dirty="0"/>
            <a:t>5S also stabilizes the process on a micro level and improves the overall safety of the workplace</a:t>
          </a:r>
        </a:p>
      </dgm:t>
    </dgm:pt>
    <dgm:pt modelId="{C3685D20-9ED3-400A-8329-9CC6B956B227}" type="parTrans" cxnId="{13919922-105B-4EC7-8755-6A8A14AA7DE4}">
      <dgm:prSet/>
      <dgm:spPr/>
      <dgm:t>
        <a:bodyPr/>
        <a:lstStyle/>
        <a:p>
          <a:endParaRPr lang="en-IE" sz="1800"/>
        </a:p>
      </dgm:t>
    </dgm:pt>
    <dgm:pt modelId="{7B3D697B-32AC-476B-8C9A-82EE9A2E3A7B}" type="sibTrans" cxnId="{13919922-105B-4EC7-8755-6A8A14AA7DE4}">
      <dgm:prSet/>
      <dgm:spPr/>
      <dgm:t>
        <a:bodyPr/>
        <a:lstStyle/>
        <a:p>
          <a:endParaRPr lang="en-IE" sz="1800"/>
        </a:p>
      </dgm:t>
    </dgm:pt>
    <dgm:pt modelId="{2AD706D4-171E-4C7B-B2ED-1B42292FC731}">
      <dgm:prSet custT="1"/>
      <dgm:spPr/>
      <dgm:t>
        <a:bodyPr/>
        <a:lstStyle/>
        <a:p>
          <a:r>
            <a:rPr lang="en-IE" sz="1000" dirty="0"/>
            <a:t>TPM relies on autonomous maintenance as it requires engagement from all employees to take ownership, build the discipline required to sustain performance, and exhibit accountability for one’s work area and machines. </a:t>
          </a:r>
        </a:p>
      </dgm:t>
    </dgm:pt>
    <dgm:pt modelId="{BCB8A155-BE2B-4B6F-B1B9-E7F94BF991ED}" type="parTrans" cxnId="{32FEB4D8-A1C8-4A7E-AFDD-56ED64D22C64}">
      <dgm:prSet/>
      <dgm:spPr/>
      <dgm:t>
        <a:bodyPr/>
        <a:lstStyle/>
        <a:p>
          <a:endParaRPr lang="en-IE" sz="1800"/>
        </a:p>
      </dgm:t>
    </dgm:pt>
    <dgm:pt modelId="{1C6610D2-9B2F-484F-836E-A97E16965375}" type="sibTrans" cxnId="{32FEB4D8-A1C8-4A7E-AFDD-56ED64D22C64}">
      <dgm:prSet/>
      <dgm:spPr/>
      <dgm:t>
        <a:bodyPr/>
        <a:lstStyle/>
        <a:p>
          <a:endParaRPr lang="en-IE" sz="1800"/>
        </a:p>
      </dgm:t>
    </dgm:pt>
    <dgm:pt modelId="{D113923A-E624-428A-9B47-AD7CE9268D89}">
      <dgm:prSet custT="1"/>
      <dgm:spPr/>
      <dgm:t>
        <a:bodyPr/>
        <a:lstStyle/>
        <a:p>
          <a:r>
            <a:rPr lang="en-IE" sz="1000" dirty="0"/>
            <a:t>Through effective autonomous and preventative maintenance initiatives TPM results in fewer line stoppages increased productivity, extend equipment life and reduce life cycle costs, promote a safer working environment through cleaning or inspecting and improving equipment, while stimulating a culture of problem solving through more active involvement from all employees.</a:t>
          </a:r>
        </a:p>
      </dgm:t>
    </dgm:pt>
    <dgm:pt modelId="{3A41C735-D0A5-4A9C-BF99-D234FE2015A2}" type="parTrans" cxnId="{E6488EE2-82EF-43E9-BC70-62F8841A93D9}">
      <dgm:prSet/>
      <dgm:spPr/>
      <dgm:t>
        <a:bodyPr/>
        <a:lstStyle/>
        <a:p>
          <a:endParaRPr lang="en-IE" sz="1800"/>
        </a:p>
      </dgm:t>
    </dgm:pt>
    <dgm:pt modelId="{42FEBA79-7F98-4FDD-8097-DB88F4E87ADD}" type="sibTrans" cxnId="{E6488EE2-82EF-43E9-BC70-62F8841A93D9}">
      <dgm:prSet/>
      <dgm:spPr/>
      <dgm:t>
        <a:bodyPr/>
        <a:lstStyle/>
        <a:p>
          <a:endParaRPr lang="en-IE" sz="1800"/>
        </a:p>
      </dgm:t>
    </dgm:pt>
    <dgm:pt modelId="{9D19AE7C-3C97-4E82-B40A-7C9CCB07FFE6}">
      <dgm:prSet phldrT="[Text]" custT="1"/>
      <dgm:spPr/>
      <dgm:t>
        <a:bodyPr/>
        <a:lstStyle/>
        <a:p>
          <a:pPr>
            <a:buFont typeface="Arial" panose="020B0604020202020204" pitchFamily="34" charset="0"/>
            <a:buChar char="•"/>
          </a:pPr>
          <a:r>
            <a:rPr lang="en-US" sz="1000" dirty="0"/>
            <a:t>The elements of PIM are Leader Standard Work, Visual Controls, Tiered Accountability Process, and Discipline.</a:t>
          </a:r>
          <a:r>
            <a:rPr lang="en-US" sz="1000" dirty="0">
              <a:solidFill>
                <a:srgbClr val="FF0000"/>
              </a:solidFill>
            </a:rPr>
            <a:t> </a:t>
          </a:r>
          <a:endParaRPr lang="en-IE" sz="1000" dirty="0"/>
        </a:p>
      </dgm:t>
    </dgm:pt>
    <dgm:pt modelId="{D5033103-22D3-410C-A420-D07C1BF33EDC}" type="parTrans" cxnId="{66F6E8EB-D02A-490D-A7C6-D127840255A9}">
      <dgm:prSet/>
      <dgm:spPr/>
      <dgm:t>
        <a:bodyPr/>
        <a:lstStyle/>
        <a:p>
          <a:endParaRPr lang="en-IE" sz="1800"/>
        </a:p>
      </dgm:t>
    </dgm:pt>
    <dgm:pt modelId="{B1208030-9EC8-4CF7-A5D8-FED5F3EC7EFF}" type="sibTrans" cxnId="{66F6E8EB-D02A-490D-A7C6-D127840255A9}">
      <dgm:prSet/>
      <dgm:spPr/>
      <dgm:t>
        <a:bodyPr/>
        <a:lstStyle/>
        <a:p>
          <a:endParaRPr lang="en-IE" sz="1800"/>
        </a:p>
      </dgm:t>
    </dgm:pt>
    <dgm:pt modelId="{B7F19019-C790-4D1A-BF45-711D03658D99}">
      <dgm:prSet custT="1"/>
      <dgm:spPr/>
      <dgm:t>
        <a:bodyPr/>
        <a:lstStyle/>
        <a:p>
          <a:r>
            <a:rPr lang="en-US" sz="1000" dirty="0"/>
            <a:t>Benefits </a:t>
          </a:r>
        </a:p>
      </dgm:t>
    </dgm:pt>
    <dgm:pt modelId="{4FA227C9-797D-43DE-9225-398B4F01D628}" type="parTrans" cxnId="{86B80372-E29C-4F73-86DF-1816B21F7443}">
      <dgm:prSet/>
      <dgm:spPr/>
      <dgm:t>
        <a:bodyPr/>
        <a:lstStyle/>
        <a:p>
          <a:endParaRPr lang="en-IE" sz="1800"/>
        </a:p>
      </dgm:t>
    </dgm:pt>
    <dgm:pt modelId="{4288AFD0-9DA8-48A5-BC6B-6974FF341B7F}" type="sibTrans" cxnId="{86B80372-E29C-4F73-86DF-1816B21F7443}">
      <dgm:prSet/>
      <dgm:spPr/>
      <dgm:t>
        <a:bodyPr/>
        <a:lstStyle/>
        <a:p>
          <a:endParaRPr lang="en-IE" sz="1800"/>
        </a:p>
      </dgm:t>
    </dgm:pt>
    <dgm:pt modelId="{6464B340-827F-4E8B-B3A1-8B42512A48A6}">
      <dgm:prSet custT="1"/>
      <dgm:spPr/>
      <dgm:t>
        <a:bodyPr/>
        <a:lstStyle/>
        <a:p>
          <a:r>
            <a:rPr lang="en-US" altLang="nl-BE" sz="1000" b="1" dirty="0">
              <a:ea typeface="MS PGothic" panose="020B0600070205080204" pitchFamily="34" charset="-128"/>
            </a:rPr>
            <a:t>Rapid improvements </a:t>
          </a:r>
          <a:r>
            <a:rPr lang="en-US" altLang="nl-BE" sz="1000" dirty="0">
              <a:ea typeface="MS PGothic" panose="020B0600070205080204" pitchFamily="34" charset="-128"/>
            </a:rPr>
            <a:t>in Safety, Quality, Delivery and Cost</a:t>
          </a:r>
          <a:endParaRPr lang="en-US" sz="1000" b="1" dirty="0"/>
        </a:p>
      </dgm:t>
    </dgm:pt>
    <dgm:pt modelId="{7D868684-CC38-43C7-A689-689E0BDF5C2B}" type="parTrans" cxnId="{F0BA9188-FA0D-4002-971C-7FB597CE8B76}">
      <dgm:prSet/>
      <dgm:spPr/>
      <dgm:t>
        <a:bodyPr/>
        <a:lstStyle/>
        <a:p>
          <a:endParaRPr lang="en-IE" sz="1800"/>
        </a:p>
      </dgm:t>
    </dgm:pt>
    <dgm:pt modelId="{1776A9B1-1E11-4D8D-AB5F-0381205C52D5}" type="sibTrans" cxnId="{F0BA9188-FA0D-4002-971C-7FB597CE8B76}">
      <dgm:prSet/>
      <dgm:spPr/>
      <dgm:t>
        <a:bodyPr/>
        <a:lstStyle/>
        <a:p>
          <a:endParaRPr lang="en-IE" sz="1800"/>
        </a:p>
      </dgm:t>
    </dgm:pt>
    <dgm:pt modelId="{048E9E28-59D2-4E0B-AAB3-44537F78F2AA}">
      <dgm:prSet custT="1"/>
      <dgm:spPr/>
      <dgm:t>
        <a:bodyPr/>
        <a:lstStyle/>
        <a:p>
          <a:r>
            <a:rPr lang="en-US" altLang="nl-BE" sz="1000" dirty="0">
              <a:ea typeface="MS PGothic" panose="020B0600070205080204" pitchFamily="34" charset="-128"/>
            </a:rPr>
            <a:t>Implementation of </a:t>
          </a:r>
          <a:r>
            <a:rPr lang="en-US" altLang="nl-BE" sz="1000" b="1" dirty="0">
              <a:ea typeface="MS PGothic" panose="020B0600070205080204" pitchFamily="34" charset="-128"/>
            </a:rPr>
            <a:t>immediate countermeasures</a:t>
          </a:r>
          <a:r>
            <a:rPr lang="en-US" altLang="nl-BE" sz="1000" dirty="0">
              <a:ea typeface="MS PGothic" panose="020B0600070205080204" pitchFamily="34" charset="-128"/>
            </a:rPr>
            <a:t> or corrective actions.</a:t>
          </a:r>
        </a:p>
      </dgm:t>
    </dgm:pt>
    <dgm:pt modelId="{DF241B5B-547A-48CB-A719-339C610E8E08}" type="parTrans" cxnId="{74AF4AE5-80C8-479D-9DA1-BA81EB5FFAC0}">
      <dgm:prSet/>
      <dgm:spPr/>
      <dgm:t>
        <a:bodyPr/>
        <a:lstStyle/>
        <a:p>
          <a:endParaRPr lang="en-IE" sz="1800"/>
        </a:p>
      </dgm:t>
    </dgm:pt>
    <dgm:pt modelId="{D92D3659-A0D2-4319-86DC-42380EAB76D0}" type="sibTrans" cxnId="{74AF4AE5-80C8-479D-9DA1-BA81EB5FFAC0}">
      <dgm:prSet/>
      <dgm:spPr/>
      <dgm:t>
        <a:bodyPr/>
        <a:lstStyle/>
        <a:p>
          <a:endParaRPr lang="en-IE" sz="1800"/>
        </a:p>
      </dgm:t>
    </dgm:pt>
    <dgm:pt modelId="{2BE992F0-8A02-4BA3-AE15-FF7565B89C76}">
      <dgm:prSet custT="1"/>
      <dgm:spPr/>
      <dgm:t>
        <a:bodyPr/>
        <a:lstStyle/>
        <a:p>
          <a:r>
            <a:rPr lang="en-US" altLang="nl-BE" sz="1000" dirty="0">
              <a:ea typeface="MS PGothic" panose="020B0600070205080204" pitchFamily="34" charset="-128"/>
            </a:rPr>
            <a:t>Move from Reactive firefighting to </a:t>
          </a:r>
          <a:r>
            <a:rPr lang="en-US" altLang="nl-BE" sz="1000" b="1" dirty="0">
              <a:ea typeface="MS PGothic" panose="020B0600070205080204" pitchFamily="34" charset="-128"/>
            </a:rPr>
            <a:t>proactive focus </a:t>
          </a:r>
          <a:r>
            <a:rPr lang="en-US" altLang="nl-BE" sz="1000" dirty="0">
              <a:ea typeface="MS PGothic" panose="020B0600070205080204" pitchFamily="34" charset="-128"/>
            </a:rPr>
            <a:t>on processes.</a:t>
          </a:r>
        </a:p>
      </dgm:t>
    </dgm:pt>
    <dgm:pt modelId="{16F8623A-C7BB-4A26-AD90-2C60E05101A6}" type="parTrans" cxnId="{EC4B5B55-23D6-42C7-8A78-A7B313C12DF6}">
      <dgm:prSet/>
      <dgm:spPr/>
      <dgm:t>
        <a:bodyPr/>
        <a:lstStyle/>
        <a:p>
          <a:endParaRPr lang="en-IE" sz="1800"/>
        </a:p>
      </dgm:t>
    </dgm:pt>
    <dgm:pt modelId="{E88A281A-8A08-4297-B6CA-08B921A07646}" type="sibTrans" cxnId="{EC4B5B55-23D6-42C7-8A78-A7B313C12DF6}">
      <dgm:prSet/>
      <dgm:spPr/>
      <dgm:t>
        <a:bodyPr/>
        <a:lstStyle/>
        <a:p>
          <a:endParaRPr lang="en-IE" sz="1800"/>
        </a:p>
      </dgm:t>
    </dgm:pt>
    <dgm:pt modelId="{96D66DE3-F2E7-4BFB-8EB4-5DF85BA5D0E4}">
      <dgm:prSet custT="1"/>
      <dgm:spPr/>
      <dgm:t>
        <a:bodyPr/>
        <a:lstStyle/>
        <a:p>
          <a:r>
            <a:rPr lang="en-US" sz="1000" dirty="0"/>
            <a:t>Includes and recognizes the input of </a:t>
          </a:r>
          <a:r>
            <a:rPr lang="en-US" sz="1000" b="1" dirty="0"/>
            <a:t>all employees</a:t>
          </a:r>
          <a:r>
            <a:rPr lang="en-US" sz="1000" dirty="0"/>
            <a:t>.</a:t>
          </a:r>
          <a:endParaRPr lang="en-US" altLang="nl-BE" sz="1000" dirty="0">
            <a:ea typeface="MS PGothic" panose="020B0600070205080204" pitchFamily="34" charset="-128"/>
          </a:endParaRPr>
        </a:p>
      </dgm:t>
    </dgm:pt>
    <dgm:pt modelId="{80FE54BD-1109-4E0A-BA12-115B9DC45208}" type="parTrans" cxnId="{746562E4-E1F4-44E2-8502-C6AF2D2B8197}">
      <dgm:prSet/>
      <dgm:spPr/>
      <dgm:t>
        <a:bodyPr/>
        <a:lstStyle/>
        <a:p>
          <a:endParaRPr lang="en-IE" sz="1800"/>
        </a:p>
      </dgm:t>
    </dgm:pt>
    <dgm:pt modelId="{3933B0F7-C886-4D5C-ACEC-094D97C6DC2B}" type="sibTrans" cxnId="{746562E4-E1F4-44E2-8502-C6AF2D2B8197}">
      <dgm:prSet/>
      <dgm:spPr/>
      <dgm:t>
        <a:bodyPr/>
        <a:lstStyle/>
        <a:p>
          <a:endParaRPr lang="en-IE" sz="1800"/>
        </a:p>
      </dgm:t>
    </dgm:pt>
    <dgm:pt modelId="{810E2A59-21CD-46D7-A24E-9879AC0C8E3C}">
      <dgm:prSet custT="1"/>
      <dgm:spPr/>
      <dgm:t>
        <a:bodyPr/>
        <a:lstStyle/>
        <a:p>
          <a:r>
            <a:rPr lang="en-US" altLang="nl-BE" sz="1000" b="1" dirty="0">
              <a:ea typeface="MS PGothic" panose="020B0600070205080204" pitchFamily="34" charset="-128"/>
            </a:rPr>
            <a:t>Rapid identification </a:t>
          </a:r>
          <a:r>
            <a:rPr lang="en-US" altLang="nl-BE" sz="1000" dirty="0">
              <a:ea typeface="MS PGothic" panose="020B0600070205080204" pitchFamily="34" charset="-128"/>
            </a:rPr>
            <a:t>of performance issues.</a:t>
          </a:r>
          <a:endParaRPr lang="en-US" sz="1000" b="1" dirty="0"/>
        </a:p>
      </dgm:t>
    </dgm:pt>
    <dgm:pt modelId="{F3587F2F-6035-4F5E-B6ED-91BD9B3666CC}" type="parTrans" cxnId="{CA51E86C-4C05-45AD-BA91-80D954F990A2}">
      <dgm:prSet/>
      <dgm:spPr/>
      <dgm:t>
        <a:bodyPr/>
        <a:lstStyle/>
        <a:p>
          <a:endParaRPr lang="en-IE" sz="1800"/>
        </a:p>
      </dgm:t>
    </dgm:pt>
    <dgm:pt modelId="{98D199CA-5A4F-4A95-A765-7B8F2FAE87C5}" type="sibTrans" cxnId="{CA51E86C-4C05-45AD-BA91-80D954F990A2}">
      <dgm:prSet/>
      <dgm:spPr/>
      <dgm:t>
        <a:bodyPr/>
        <a:lstStyle/>
        <a:p>
          <a:endParaRPr lang="en-IE" sz="1800"/>
        </a:p>
      </dgm:t>
    </dgm:pt>
    <dgm:pt modelId="{6FE9B4D4-4BB6-4F0A-B63B-07B5E414313E}">
      <dgm:prSet custT="1"/>
      <dgm:spPr/>
      <dgm:t>
        <a:bodyPr/>
        <a:lstStyle/>
        <a:p>
          <a:r>
            <a:rPr lang="en-US" altLang="nl-BE" sz="1000" b="1" dirty="0">
              <a:ea typeface="MS PGothic" panose="020B0600070205080204" pitchFamily="34" charset="-128"/>
            </a:rPr>
            <a:t>Problems</a:t>
          </a:r>
          <a:r>
            <a:rPr lang="en-US" altLang="nl-BE" sz="1000" dirty="0">
              <a:ea typeface="MS PGothic" panose="020B0600070205080204" pitchFamily="34" charset="-128"/>
            </a:rPr>
            <a:t> are identified through visuals and </a:t>
          </a:r>
          <a:r>
            <a:rPr lang="en-US" altLang="nl-BE" sz="1000" b="1" dirty="0">
              <a:ea typeface="MS PGothic" panose="020B0600070205080204" pitchFamily="34" charset="-128"/>
            </a:rPr>
            <a:t>solved at lowest tier possible</a:t>
          </a:r>
          <a:r>
            <a:rPr lang="en-US" altLang="nl-BE" sz="1000" dirty="0">
              <a:ea typeface="MS PGothic" panose="020B0600070205080204" pitchFamily="34" charset="-128"/>
            </a:rPr>
            <a:t>.</a:t>
          </a:r>
        </a:p>
      </dgm:t>
    </dgm:pt>
    <dgm:pt modelId="{70EDB560-67F0-4459-9BD8-F04954124D9C}" type="parTrans" cxnId="{5A8A1AB9-F4E8-4573-B659-96A76FD119CA}">
      <dgm:prSet/>
      <dgm:spPr/>
      <dgm:t>
        <a:bodyPr/>
        <a:lstStyle/>
        <a:p>
          <a:endParaRPr lang="en-IE" sz="1800"/>
        </a:p>
      </dgm:t>
    </dgm:pt>
    <dgm:pt modelId="{D7FDF474-32EA-4F5B-856E-0A906243F204}" type="sibTrans" cxnId="{5A8A1AB9-F4E8-4573-B659-96A76FD119CA}">
      <dgm:prSet/>
      <dgm:spPr/>
      <dgm:t>
        <a:bodyPr/>
        <a:lstStyle/>
        <a:p>
          <a:endParaRPr lang="en-IE" sz="1800"/>
        </a:p>
      </dgm:t>
    </dgm:pt>
    <dgm:pt modelId="{22114E91-B71F-41CF-AA8C-0DE22DF59C86}">
      <dgm:prSet phldrT="[Text]" custT="1"/>
      <dgm:spPr/>
      <dgm:t>
        <a:bodyPr/>
        <a:lstStyle/>
        <a:p>
          <a:endParaRPr lang="en-IE" sz="1000" dirty="0"/>
        </a:p>
      </dgm:t>
    </dgm:pt>
    <dgm:pt modelId="{3E93B360-71D6-4AC3-8F96-E55BDFEC290E}" type="parTrans" cxnId="{C1AF1FA0-2DE0-4AC7-BB50-A7481E8B907C}">
      <dgm:prSet/>
      <dgm:spPr/>
      <dgm:t>
        <a:bodyPr/>
        <a:lstStyle/>
        <a:p>
          <a:endParaRPr lang="en-IE" sz="1800"/>
        </a:p>
      </dgm:t>
    </dgm:pt>
    <dgm:pt modelId="{130870A7-8013-4F7A-BAC0-B8087454724C}" type="sibTrans" cxnId="{C1AF1FA0-2DE0-4AC7-BB50-A7481E8B907C}">
      <dgm:prSet/>
      <dgm:spPr/>
      <dgm:t>
        <a:bodyPr/>
        <a:lstStyle/>
        <a:p>
          <a:endParaRPr lang="en-IE" sz="1800"/>
        </a:p>
      </dgm:t>
    </dgm:pt>
    <dgm:pt modelId="{4A28B91A-E28E-44E9-9AE0-3C00589C95D8}">
      <dgm:prSet phldrT="[Text]" custT="1"/>
      <dgm:spPr/>
      <dgm:t>
        <a:bodyPr/>
        <a:lstStyle/>
        <a:p>
          <a:r>
            <a:rPr lang="en-IE" sz="1000" b="1" dirty="0"/>
            <a:t>Visual managements purpose is </a:t>
          </a:r>
          <a:r>
            <a:rPr lang="en-IE" sz="1000" dirty="0"/>
            <a:t>m is to focus attention on critical processes and activities and clearly  communicate the status of relevant information of key areas in “real time.”</a:t>
          </a:r>
        </a:p>
      </dgm:t>
    </dgm:pt>
    <dgm:pt modelId="{0D02CAF4-68E9-467D-84CA-1B6A0A415946}" type="parTrans" cxnId="{114BB1A3-F52A-4D0F-9349-8A337F21313A}">
      <dgm:prSet/>
      <dgm:spPr/>
      <dgm:t>
        <a:bodyPr/>
        <a:lstStyle/>
        <a:p>
          <a:endParaRPr lang="en-IE" sz="1800"/>
        </a:p>
      </dgm:t>
    </dgm:pt>
    <dgm:pt modelId="{1A1F4DD7-80F3-4DD3-9B02-E9A5E281EBE2}" type="sibTrans" cxnId="{114BB1A3-F52A-4D0F-9349-8A337F21313A}">
      <dgm:prSet/>
      <dgm:spPr/>
      <dgm:t>
        <a:bodyPr/>
        <a:lstStyle/>
        <a:p>
          <a:endParaRPr lang="en-IE" sz="1800"/>
        </a:p>
      </dgm:t>
    </dgm:pt>
    <dgm:pt modelId="{B664FB1D-04D2-468D-9FB6-99FE88613D18}">
      <dgm:prSet phldrT="[Text]" custT="1"/>
      <dgm:spPr/>
      <dgm:t>
        <a:bodyPr/>
        <a:lstStyle/>
        <a:p>
          <a:r>
            <a:rPr lang="en-IE" sz="1000" dirty="0"/>
            <a:t>Robust, easily understandable visual controls which facilitates a control system for safety, product and information flow, operations standards, schedules and helps to highlight immediate problems to any observer.</a:t>
          </a:r>
        </a:p>
      </dgm:t>
    </dgm:pt>
    <dgm:pt modelId="{130AFDC8-8A46-401E-B4BD-E9F4D9860BE1}" type="parTrans" cxnId="{94AE9994-59A0-4C77-9C60-D64F5DFFA27E}">
      <dgm:prSet/>
      <dgm:spPr/>
      <dgm:t>
        <a:bodyPr/>
        <a:lstStyle/>
        <a:p>
          <a:endParaRPr lang="en-IE" sz="1800"/>
        </a:p>
      </dgm:t>
    </dgm:pt>
    <dgm:pt modelId="{E89BDFC8-5073-40CE-9BD4-0E5EE7EFA55E}" type="sibTrans" cxnId="{94AE9994-59A0-4C77-9C60-D64F5DFFA27E}">
      <dgm:prSet/>
      <dgm:spPr/>
      <dgm:t>
        <a:bodyPr/>
        <a:lstStyle/>
        <a:p>
          <a:endParaRPr lang="en-IE" sz="1800"/>
        </a:p>
      </dgm:t>
    </dgm:pt>
    <dgm:pt modelId="{0F8446B0-D26D-4B56-B7F9-022CE48BA439}">
      <dgm:prSet phldrT="[Text]" custT="1"/>
      <dgm:spPr/>
      <dgm:t>
        <a:bodyPr/>
        <a:lstStyle/>
        <a:p>
          <a:endParaRPr lang="en-IE" sz="1000" dirty="0"/>
        </a:p>
      </dgm:t>
    </dgm:pt>
    <dgm:pt modelId="{BA808043-000F-4BEB-91CD-4D87BF6967C0}" type="parTrans" cxnId="{CB8E57F9-2775-4C1D-8E96-EEA85D69C46C}">
      <dgm:prSet/>
      <dgm:spPr/>
      <dgm:t>
        <a:bodyPr/>
        <a:lstStyle/>
        <a:p>
          <a:endParaRPr lang="en-IE" sz="1800"/>
        </a:p>
      </dgm:t>
    </dgm:pt>
    <dgm:pt modelId="{A9235277-7762-4DA2-90B4-1692D22BA316}" type="sibTrans" cxnId="{CB8E57F9-2775-4C1D-8E96-EEA85D69C46C}">
      <dgm:prSet/>
      <dgm:spPr/>
      <dgm:t>
        <a:bodyPr/>
        <a:lstStyle/>
        <a:p>
          <a:endParaRPr lang="en-IE" sz="1800"/>
        </a:p>
      </dgm:t>
    </dgm:pt>
    <dgm:pt modelId="{05B9C7D7-42AE-463E-AFA4-44DBC03895CD}">
      <dgm:prSet phldrT="[Text]" custT="1"/>
      <dgm:spPr/>
      <dgm:t>
        <a:bodyPr/>
        <a:lstStyle/>
        <a:p>
          <a:endParaRPr lang="en-IE" sz="1000" dirty="0"/>
        </a:p>
      </dgm:t>
    </dgm:pt>
    <dgm:pt modelId="{CED92B5C-A03F-4457-AE5E-016A4B4C82D1}" type="parTrans" cxnId="{2D2F23AE-1AC0-474B-BCDF-64DFEEEF58A2}">
      <dgm:prSet/>
      <dgm:spPr/>
      <dgm:t>
        <a:bodyPr/>
        <a:lstStyle/>
        <a:p>
          <a:endParaRPr lang="en-IE" sz="1800"/>
        </a:p>
      </dgm:t>
    </dgm:pt>
    <dgm:pt modelId="{0D1F51D0-BDC4-499D-82A8-19F7F08D0CB4}" type="sibTrans" cxnId="{2D2F23AE-1AC0-474B-BCDF-64DFEEEF58A2}">
      <dgm:prSet/>
      <dgm:spPr/>
      <dgm:t>
        <a:bodyPr/>
        <a:lstStyle/>
        <a:p>
          <a:endParaRPr lang="en-IE" sz="1800"/>
        </a:p>
      </dgm:t>
    </dgm:pt>
    <dgm:pt modelId="{214C3E15-ADF1-457F-9BC9-90A0F4ABFA2E}">
      <dgm:prSet phldrT="[Text]" custT="1"/>
      <dgm:spPr/>
      <dgm:t>
        <a:bodyPr/>
        <a:lstStyle/>
        <a:p>
          <a:pPr>
            <a:buFont typeface="Arial" panose="020B0604020202020204" pitchFamily="34" charset="0"/>
            <a:buChar char="•"/>
          </a:pPr>
          <a:endParaRPr lang="en-IE" sz="1000" dirty="0"/>
        </a:p>
      </dgm:t>
    </dgm:pt>
    <dgm:pt modelId="{593D7F74-BB28-42C0-BF6B-EC8207D9ED81}" type="parTrans" cxnId="{8761FDBD-0E07-49CF-9E93-E69C851B49F1}">
      <dgm:prSet/>
      <dgm:spPr/>
      <dgm:t>
        <a:bodyPr/>
        <a:lstStyle/>
        <a:p>
          <a:endParaRPr lang="en-IE" sz="1800"/>
        </a:p>
      </dgm:t>
    </dgm:pt>
    <dgm:pt modelId="{1F385F26-948F-40BB-AAE2-C567C5AE4BB4}" type="sibTrans" cxnId="{8761FDBD-0E07-49CF-9E93-E69C851B49F1}">
      <dgm:prSet/>
      <dgm:spPr/>
      <dgm:t>
        <a:bodyPr/>
        <a:lstStyle/>
        <a:p>
          <a:endParaRPr lang="en-IE" sz="1800"/>
        </a:p>
      </dgm:t>
    </dgm:pt>
    <dgm:pt modelId="{B665BB76-70FE-47E8-B3DB-4088440D6AC6}">
      <dgm:prSet phldrT="[Text]" custT="1"/>
      <dgm:spPr/>
      <dgm:t>
        <a:bodyPr/>
        <a:lstStyle/>
        <a:p>
          <a:endParaRPr lang="en-IE" sz="1000" dirty="0"/>
        </a:p>
      </dgm:t>
    </dgm:pt>
    <dgm:pt modelId="{DF0A31FB-0DAC-4026-ABA6-89C0989D9932}" type="parTrans" cxnId="{E06B7C72-04C6-4ED2-A3AB-87A4F30F3A8C}">
      <dgm:prSet/>
      <dgm:spPr/>
      <dgm:t>
        <a:bodyPr/>
        <a:lstStyle/>
        <a:p>
          <a:endParaRPr lang="en-IE"/>
        </a:p>
      </dgm:t>
    </dgm:pt>
    <dgm:pt modelId="{083FA8C5-C8FA-48ED-92AD-61014C38844D}" type="sibTrans" cxnId="{E06B7C72-04C6-4ED2-A3AB-87A4F30F3A8C}">
      <dgm:prSet/>
      <dgm:spPr/>
      <dgm:t>
        <a:bodyPr/>
        <a:lstStyle/>
        <a:p>
          <a:endParaRPr lang="en-IE"/>
        </a:p>
      </dgm:t>
    </dgm:pt>
    <dgm:pt modelId="{FD7B330F-7CD1-4FC5-A742-4356310812B1}">
      <dgm:prSet custT="1"/>
      <dgm:spPr/>
      <dgm:t>
        <a:bodyPr/>
        <a:lstStyle/>
        <a:p>
          <a:endParaRPr lang="en-IE" sz="1000" dirty="0"/>
        </a:p>
      </dgm:t>
    </dgm:pt>
    <dgm:pt modelId="{29D533C0-DB8C-44BE-8444-F4669F9FF6B2}" type="parTrans" cxnId="{B341BAF2-9FC2-49F5-A908-817D12FB875C}">
      <dgm:prSet/>
      <dgm:spPr/>
      <dgm:t>
        <a:bodyPr/>
        <a:lstStyle/>
        <a:p>
          <a:endParaRPr lang="en-IE"/>
        </a:p>
      </dgm:t>
    </dgm:pt>
    <dgm:pt modelId="{C7E4988B-63DF-40F6-B712-1392DFC1FFDA}" type="sibTrans" cxnId="{B341BAF2-9FC2-49F5-A908-817D12FB875C}">
      <dgm:prSet/>
      <dgm:spPr/>
      <dgm:t>
        <a:bodyPr/>
        <a:lstStyle/>
        <a:p>
          <a:endParaRPr lang="en-IE"/>
        </a:p>
      </dgm:t>
    </dgm:pt>
    <dgm:pt modelId="{0CB92503-D96B-4EF3-A84B-F98A320D5491}">
      <dgm:prSe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r>
            <a:rPr lang="en-US" sz="1200" i="1" kern="1200" dirty="0">
              <a:solidFill>
                <a:schemeClr val="tx1"/>
              </a:solidFill>
              <a:latin typeface="Arial"/>
              <a:ea typeface="Arial"/>
              <a:cs typeface="Arial"/>
              <a:hlinkClick xmlns:r="http://schemas.openxmlformats.org/officeDocument/2006/relationships" r:id="rId6" action="ppaction://hlinksldjump">
                <a:extLst>
                  <a:ext uri="{A12FA001-AC4F-418D-AE19-62706E023703}">
                    <ahyp:hlinkClr xmlns:ahyp="http://schemas.microsoft.com/office/drawing/2018/hyperlinkcolor" val="tx"/>
                  </a:ext>
                </a:extLst>
              </a:hlinkClick>
            </a:rPr>
            <a:t>Safety</a:t>
          </a:r>
          <a:endParaRPr lang="en-US" sz="1200" i="1" kern="1200" dirty="0">
            <a:solidFill>
              <a:schemeClr val="tx1"/>
            </a:solidFill>
            <a:latin typeface="Arial"/>
            <a:ea typeface="Arial"/>
            <a:cs typeface="Arial"/>
          </a:endParaRPr>
        </a:p>
      </dgm:t>
    </dgm:pt>
    <dgm:pt modelId="{8E8866D0-76F5-4AD8-9982-52E33B5C1319}" type="parTrans" cxnId="{C4007BEB-AF59-4BC5-ADC8-ACE41C85A80C}">
      <dgm:prSet/>
      <dgm:spPr/>
      <dgm:t>
        <a:bodyPr/>
        <a:lstStyle/>
        <a:p>
          <a:endParaRPr lang="en-IE"/>
        </a:p>
      </dgm:t>
    </dgm:pt>
    <dgm:pt modelId="{7C3DF9F0-69EE-4639-9C23-F8050E93468C}" type="sibTrans" cxnId="{C4007BEB-AF59-4BC5-ADC8-ACE41C85A80C}">
      <dgm:prSet/>
      <dgm:spPr/>
      <dgm:t>
        <a:bodyPr/>
        <a:lstStyle/>
        <a:p>
          <a:endParaRPr lang="en-IE"/>
        </a:p>
      </dgm:t>
    </dgm:pt>
    <dgm:pt modelId="{94141A85-B008-4DA4-8BA0-049151554319}">
      <dgm:prSet phldrT="[Tex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r>
            <a:rPr lang="en-US" sz="1200" kern="1200" dirty="0">
              <a:solidFill>
                <a:schemeClr val="tx1"/>
              </a:solidFill>
            </a:rPr>
            <a:t>There are three main elements to the </a:t>
          </a:r>
          <a:r>
            <a:rPr lang="en-US" sz="1200" i="1" kern="1200" dirty="0">
              <a:solidFill>
                <a:schemeClr val="tx1"/>
              </a:solidFill>
              <a:latin typeface="Arial"/>
              <a:ea typeface="Arial"/>
              <a:cs typeface="Arial"/>
            </a:rPr>
            <a:t>EH&amp;S Program:</a:t>
          </a:r>
          <a:endParaRPr lang="en-IE" sz="1200" i="1" kern="1200" dirty="0">
            <a:solidFill>
              <a:schemeClr val="tx1"/>
            </a:solidFill>
            <a:latin typeface="Arial"/>
            <a:ea typeface="Arial"/>
            <a:cs typeface="Arial"/>
          </a:endParaRPr>
        </a:p>
      </dgm:t>
    </dgm:pt>
    <dgm:pt modelId="{DD7EA226-1B49-4C73-A6FA-6B9EEF16F19D}" type="parTrans" cxnId="{873FE221-0063-4039-B755-88F9B6271530}">
      <dgm:prSet/>
      <dgm:spPr/>
      <dgm:t>
        <a:bodyPr/>
        <a:lstStyle/>
        <a:p>
          <a:endParaRPr lang="en-IE"/>
        </a:p>
      </dgm:t>
    </dgm:pt>
    <dgm:pt modelId="{A662B2FA-59A2-4B78-BE4B-230BAAA71778}" type="sibTrans" cxnId="{873FE221-0063-4039-B755-88F9B6271530}">
      <dgm:prSet/>
      <dgm:spPr/>
      <dgm:t>
        <a:bodyPr/>
        <a:lstStyle/>
        <a:p>
          <a:endParaRPr lang="en-IE"/>
        </a:p>
      </dgm:t>
    </dgm:pt>
    <dgm:pt modelId="{4C566F34-0F77-4B27-8A37-D95F5071BB78}">
      <dgm:prSet phldrT="[Tex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r>
            <a:rPr lang="en-GB" sz="1200" dirty="0"/>
            <a:t>It covers roles and responsibilities, data reporting, our EH&amp;S programs, resource references, communication tools and training.</a:t>
          </a:r>
          <a:endParaRPr lang="en-IE" sz="1200" i="1" kern="1200" dirty="0">
            <a:solidFill>
              <a:schemeClr val="tx1"/>
            </a:solidFill>
            <a:latin typeface="Arial"/>
            <a:ea typeface="Arial"/>
            <a:cs typeface="Arial"/>
          </a:endParaRPr>
        </a:p>
      </dgm:t>
    </dgm:pt>
    <dgm:pt modelId="{5349F118-8C73-48A1-9B83-99B57D975B5D}" type="parTrans" cxnId="{C3691D1F-A541-451C-BC33-F4E9130635ED}">
      <dgm:prSet/>
      <dgm:spPr/>
      <dgm:t>
        <a:bodyPr/>
        <a:lstStyle/>
        <a:p>
          <a:endParaRPr lang="en-IE"/>
        </a:p>
      </dgm:t>
    </dgm:pt>
    <dgm:pt modelId="{A4B20DBD-14FD-4342-8B55-45246D2052C2}" type="sibTrans" cxnId="{C3691D1F-A541-451C-BC33-F4E9130635ED}">
      <dgm:prSet/>
      <dgm:spPr/>
      <dgm:t>
        <a:bodyPr/>
        <a:lstStyle/>
        <a:p>
          <a:endParaRPr lang="en-IE"/>
        </a:p>
      </dgm:t>
    </dgm:pt>
    <dgm:pt modelId="{23C42156-A3A5-480F-BA06-823DE8B3D927}">
      <dgm:prSe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r>
            <a:rPr lang="en-US" sz="1200" i="1" kern="1200" dirty="0">
              <a:solidFill>
                <a:schemeClr val="tx1"/>
              </a:solidFill>
              <a:latin typeface="Arial"/>
              <a:ea typeface="Arial"/>
              <a:cs typeface="Arial"/>
              <a:hlinkClick xmlns:r="http://schemas.openxmlformats.org/officeDocument/2006/relationships" r:id="rId7" action="ppaction://hlinksldjump">
                <a:extLst>
                  <a:ext uri="{A12FA001-AC4F-418D-AE19-62706E023703}">
                    <ahyp:hlinkClr xmlns:ahyp="http://schemas.microsoft.com/office/drawing/2018/hyperlinkcolor" val="tx"/>
                  </a:ext>
                </a:extLst>
              </a:hlinkClick>
            </a:rPr>
            <a:t>Environmental compliance</a:t>
          </a:r>
          <a:endParaRPr lang="en-US" sz="1200" i="1" kern="1200" dirty="0">
            <a:solidFill>
              <a:schemeClr val="tx1"/>
            </a:solidFill>
            <a:latin typeface="Arial"/>
            <a:ea typeface="Arial"/>
            <a:cs typeface="Arial"/>
          </a:endParaRPr>
        </a:p>
      </dgm:t>
    </dgm:pt>
    <dgm:pt modelId="{C600CE9F-B7DE-40FF-8CB2-41E1E6C169A9}" type="sibTrans" cxnId="{CE8B059E-606A-40F7-87BD-4078EA11420E}">
      <dgm:prSet/>
      <dgm:spPr/>
      <dgm:t>
        <a:bodyPr/>
        <a:lstStyle/>
        <a:p>
          <a:endParaRPr lang="en-IE"/>
        </a:p>
      </dgm:t>
    </dgm:pt>
    <dgm:pt modelId="{F53CDD64-FB7E-43BC-A4BE-BAB11421A058}" type="parTrans" cxnId="{CE8B059E-606A-40F7-87BD-4078EA11420E}">
      <dgm:prSet/>
      <dgm:spPr/>
      <dgm:t>
        <a:bodyPr/>
        <a:lstStyle/>
        <a:p>
          <a:endParaRPr lang="en-IE"/>
        </a:p>
      </dgm:t>
    </dgm:pt>
    <dgm:pt modelId="{EC1828F1-B826-4D0E-A4F0-3C7435BFF762}">
      <dgm:prSe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r>
            <a:rPr lang="en-US" sz="1200" i="1" kern="1200" dirty="0">
              <a:solidFill>
                <a:schemeClr val="tx1"/>
              </a:solidFill>
              <a:latin typeface="Arial"/>
              <a:ea typeface="Arial"/>
              <a:cs typeface="Arial"/>
              <a:hlinkClick xmlns:r="http://schemas.openxmlformats.org/officeDocument/2006/relationships" r:id="rId8" action="ppaction://hlinksldjump">
                <a:extLst>
                  <a:ext uri="{A12FA001-AC4F-418D-AE19-62706E023703}">
                    <ahyp:hlinkClr xmlns:ahyp="http://schemas.microsoft.com/office/drawing/2018/hyperlinkcolor" val="tx"/>
                  </a:ext>
                </a:extLst>
              </a:hlinkClick>
            </a:rPr>
            <a:t>Sustainability</a:t>
          </a:r>
          <a:endParaRPr lang="en-US" sz="1200" i="1" kern="1200" dirty="0">
            <a:solidFill>
              <a:schemeClr val="tx1"/>
            </a:solidFill>
            <a:latin typeface="Arial"/>
            <a:ea typeface="Arial"/>
            <a:cs typeface="Arial"/>
          </a:endParaRPr>
        </a:p>
      </dgm:t>
    </dgm:pt>
    <dgm:pt modelId="{C3B07B77-513F-4238-880F-CB884DF8B230}" type="sibTrans" cxnId="{361FFCDB-B8F6-44DC-B26E-83B24014497F}">
      <dgm:prSet/>
      <dgm:spPr/>
      <dgm:t>
        <a:bodyPr/>
        <a:lstStyle/>
        <a:p>
          <a:endParaRPr lang="en-IE"/>
        </a:p>
      </dgm:t>
    </dgm:pt>
    <dgm:pt modelId="{894519BD-A65B-48EB-9F40-1AF751216811}" type="parTrans" cxnId="{361FFCDB-B8F6-44DC-B26E-83B24014497F}">
      <dgm:prSet/>
      <dgm:spPr/>
      <dgm:t>
        <a:bodyPr/>
        <a:lstStyle/>
        <a:p>
          <a:endParaRPr lang="en-IE"/>
        </a:p>
      </dgm:t>
    </dgm:pt>
    <dgm:pt modelId="{A91DB291-01E5-4177-B558-3885B0E1F8CD}">
      <dgm:prSet phldrT="[Tex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endParaRPr lang="en-IE" sz="1200" i="1" kern="1200" dirty="0">
            <a:solidFill>
              <a:schemeClr val="tx1"/>
            </a:solidFill>
            <a:latin typeface="Arial"/>
            <a:ea typeface="Arial"/>
            <a:cs typeface="Arial"/>
          </a:endParaRPr>
        </a:p>
      </dgm:t>
    </dgm:pt>
    <dgm:pt modelId="{1CAF3D8E-D2F4-420F-9B9E-4294EF89BC9D}" type="parTrans" cxnId="{2A12EB24-EC67-4091-9E7A-07A825ED8D66}">
      <dgm:prSet/>
      <dgm:spPr/>
      <dgm:t>
        <a:bodyPr/>
        <a:lstStyle/>
        <a:p>
          <a:endParaRPr lang="en-IE"/>
        </a:p>
      </dgm:t>
    </dgm:pt>
    <dgm:pt modelId="{5CCB8148-FFBC-4E86-9116-B6D850063698}" type="sibTrans" cxnId="{2A12EB24-EC67-4091-9E7A-07A825ED8D66}">
      <dgm:prSet/>
      <dgm:spPr/>
      <dgm:t>
        <a:bodyPr/>
        <a:lstStyle/>
        <a:p>
          <a:endParaRPr lang="en-IE"/>
        </a:p>
      </dgm:t>
    </dgm:pt>
    <dgm:pt modelId="{963DA6F6-285B-431F-9816-14CDDE61F144}">
      <dgm:prSet phldrT="[Text]" custT="1"/>
      <dgm:spPr>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gm:spPr>
      <dgm:t>
        <a:bodyPr spcFirstLastPara="0" vert="horz" wrap="square" lIns="64008" tIns="64008" rIns="85344" bIns="96012" numCol="1" spcCol="1270" anchor="t" anchorCtr="0"/>
        <a:lstStyle/>
        <a:p>
          <a:pPr marL="114300" lvl="1" indent="-114300" algn="l" defTabSz="533400">
            <a:lnSpc>
              <a:spcPct val="90000"/>
            </a:lnSpc>
            <a:spcBef>
              <a:spcPct val="0"/>
            </a:spcBef>
            <a:spcAft>
              <a:spcPct val="15000"/>
            </a:spcAft>
            <a:buChar char="•"/>
          </a:pPr>
          <a:endParaRPr lang="en-IE" sz="1200" i="1" kern="1200" dirty="0">
            <a:solidFill>
              <a:schemeClr val="tx1"/>
            </a:solidFill>
            <a:latin typeface="Arial"/>
            <a:ea typeface="Arial"/>
            <a:cs typeface="Arial"/>
          </a:endParaRPr>
        </a:p>
      </dgm:t>
    </dgm:pt>
    <dgm:pt modelId="{DBD383DD-24EF-464C-88CA-B4221D9965B2}" type="parTrans" cxnId="{DF1A819D-F033-4FF7-A4CE-D8081E9D047D}">
      <dgm:prSet/>
      <dgm:spPr/>
      <dgm:t>
        <a:bodyPr/>
        <a:lstStyle/>
        <a:p>
          <a:endParaRPr lang="en-IE"/>
        </a:p>
      </dgm:t>
    </dgm:pt>
    <dgm:pt modelId="{4F176BBE-0677-4A21-B357-034BFA33861A}" type="sibTrans" cxnId="{DF1A819D-F033-4FF7-A4CE-D8081E9D047D}">
      <dgm:prSet/>
      <dgm:spPr/>
      <dgm:t>
        <a:bodyPr/>
        <a:lstStyle/>
        <a:p>
          <a:endParaRPr lang="en-IE"/>
        </a:p>
      </dgm:t>
    </dgm:pt>
    <dgm:pt modelId="{0D592B27-B7D3-4FCD-98BD-02F46A89944C}" type="pres">
      <dgm:prSet presAssocID="{7D652B20-F841-4652-83BF-D525406A37F6}" presName="Name0" presStyleCnt="0">
        <dgm:presLayoutVars>
          <dgm:dir/>
          <dgm:animLvl val="lvl"/>
          <dgm:resizeHandles val="exact"/>
        </dgm:presLayoutVars>
      </dgm:prSet>
      <dgm:spPr/>
    </dgm:pt>
    <dgm:pt modelId="{06161ECF-BBBF-4CE6-841D-9E44C8403D6F}" type="pres">
      <dgm:prSet presAssocID="{8D534F85-772B-419F-9C37-6D9D93B42E43}" presName="composite" presStyleCnt="0"/>
      <dgm:spPr/>
    </dgm:pt>
    <dgm:pt modelId="{501F7644-4504-4DA8-8773-B3651F8D2295}" type="pres">
      <dgm:prSet presAssocID="{8D534F85-772B-419F-9C37-6D9D93B42E43}" presName="parTx" presStyleLbl="alignNode1" presStyleIdx="0" presStyleCnt="5">
        <dgm:presLayoutVars>
          <dgm:chMax val="0"/>
          <dgm:chPref val="0"/>
          <dgm:bulletEnabled val="1"/>
        </dgm:presLayoutVars>
      </dgm:prSet>
      <dgm:spPr/>
    </dgm:pt>
    <dgm:pt modelId="{8E6DEA0A-3811-4A54-ABC6-BD30E358F81C}" type="pres">
      <dgm:prSet presAssocID="{8D534F85-772B-419F-9C37-6D9D93B42E43}" presName="desTx" presStyleLbl="alignAccFollowNode1" presStyleIdx="0" presStyleCnt="5">
        <dgm:presLayoutVars>
          <dgm:bulletEnabled val="1"/>
        </dgm:presLayoutVars>
      </dgm:prSet>
      <dgm:spPr>
        <a:xfrm>
          <a:off x="17130" y="387617"/>
          <a:ext cx="2127604" cy="4509251"/>
        </a:xfrm>
        <a:prstGeom prst="rect">
          <a:avLst/>
        </a:prstGeom>
      </dgm:spPr>
    </dgm:pt>
    <dgm:pt modelId="{96BC5514-DB6B-40CC-9D58-76FA73C6F7CD}" type="pres">
      <dgm:prSet presAssocID="{71BC37EF-032E-4D84-BE1D-28E01418C9B4}" presName="space" presStyleCnt="0"/>
      <dgm:spPr/>
    </dgm:pt>
    <dgm:pt modelId="{AC4D3975-0B8E-49EE-A742-FD5AF5CCD065}" type="pres">
      <dgm:prSet presAssocID="{70DC29AA-3C98-443C-AB42-DF7C1F3F3671}" presName="composite" presStyleCnt="0"/>
      <dgm:spPr/>
    </dgm:pt>
    <dgm:pt modelId="{5F1828A2-ADAC-4622-919B-ED4493548C5B}" type="pres">
      <dgm:prSet presAssocID="{70DC29AA-3C98-443C-AB42-DF7C1F3F3671}" presName="parTx" presStyleLbl="alignNode1" presStyleIdx="1" presStyleCnt="5">
        <dgm:presLayoutVars>
          <dgm:chMax val="0"/>
          <dgm:chPref val="0"/>
          <dgm:bulletEnabled val="1"/>
        </dgm:presLayoutVars>
      </dgm:prSet>
      <dgm:spPr/>
    </dgm:pt>
    <dgm:pt modelId="{163BFC04-26AE-432A-A2B8-0676DA6BC81A}" type="pres">
      <dgm:prSet presAssocID="{70DC29AA-3C98-443C-AB42-DF7C1F3F3671}" presName="desTx" presStyleLbl="alignAccFollowNode1" presStyleIdx="1" presStyleCnt="5">
        <dgm:presLayoutVars>
          <dgm:bulletEnabled val="1"/>
        </dgm:presLayoutVars>
      </dgm:prSet>
      <dgm:spPr/>
    </dgm:pt>
    <dgm:pt modelId="{16342DB2-36AA-4214-BF95-E9A714EE78A7}" type="pres">
      <dgm:prSet presAssocID="{6D25BBB2-2EAE-44AC-AADD-0226B1719A16}" presName="space" presStyleCnt="0"/>
      <dgm:spPr/>
    </dgm:pt>
    <dgm:pt modelId="{20CBAB34-F558-4DE9-867C-8512D237C62B}" type="pres">
      <dgm:prSet presAssocID="{906F968F-7C70-448B-A7DD-E055BD6C851B}" presName="composite" presStyleCnt="0"/>
      <dgm:spPr/>
    </dgm:pt>
    <dgm:pt modelId="{3FD88DA5-C049-4713-9684-F2AE50EE24BC}" type="pres">
      <dgm:prSet presAssocID="{906F968F-7C70-448B-A7DD-E055BD6C851B}" presName="parTx" presStyleLbl="alignNode1" presStyleIdx="2" presStyleCnt="5">
        <dgm:presLayoutVars>
          <dgm:chMax val="0"/>
          <dgm:chPref val="0"/>
          <dgm:bulletEnabled val="1"/>
        </dgm:presLayoutVars>
      </dgm:prSet>
      <dgm:spPr/>
    </dgm:pt>
    <dgm:pt modelId="{BF025F6A-0903-4551-A4A6-1BD11E6E5F07}" type="pres">
      <dgm:prSet presAssocID="{906F968F-7C70-448B-A7DD-E055BD6C851B}" presName="desTx" presStyleLbl="alignAccFollowNode1" presStyleIdx="2" presStyleCnt="5">
        <dgm:presLayoutVars>
          <dgm:bulletEnabled val="1"/>
        </dgm:presLayoutVars>
      </dgm:prSet>
      <dgm:spPr/>
    </dgm:pt>
    <dgm:pt modelId="{AEDDB670-E952-4BB4-BA90-0DEAA7D05688}" type="pres">
      <dgm:prSet presAssocID="{DEE662FC-85E4-4934-A0C6-560791CEC88F}" presName="space" presStyleCnt="0"/>
      <dgm:spPr/>
    </dgm:pt>
    <dgm:pt modelId="{6451832D-09E9-4DB5-9A5D-9283E127AECA}" type="pres">
      <dgm:prSet presAssocID="{D02A4350-8BB0-4E93-B662-4387AB449984}" presName="composite" presStyleCnt="0"/>
      <dgm:spPr/>
    </dgm:pt>
    <dgm:pt modelId="{798D41CB-0368-4C15-9D9E-216390F58701}" type="pres">
      <dgm:prSet presAssocID="{D02A4350-8BB0-4E93-B662-4387AB449984}" presName="parTx" presStyleLbl="alignNode1" presStyleIdx="3" presStyleCnt="5">
        <dgm:presLayoutVars>
          <dgm:chMax val="0"/>
          <dgm:chPref val="0"/>
          <dgm:bulletEnabled val="1"/>
        </dgm:presLayoutVars>
      </dgm:prSet>
      <dgm:spPr/>
    </dgm:pt>
    <dgm:pt modelId="{A833EBE1-A3CE-4DE9-93F7-7DD2D14525A3}" type="pres">
      <dgm:prSet presAssocID="{D02A4350-8BB0-4E93-B662-4387AB449984}" presName="desTx" presStyleLbl="alignAccFollowNode1" presStyleIdx="3" presStyleCnt="5">
        <dgm:presLayoutVars>
          <dgm:bulletEnabled val="1"/>
        </dgm:presLayoutVars>
      </dgm:prSet>
      <dgm:spPr/>
    </dgm:pt>
    <dgm:pt modelId="{ED3FC6F0-AB74-4C54-BE4A-F0025025CC14}" type="pres">
      <dgm:prSet presAssocID="{37BE744A-E30B-47BE-85DB-96DCB26FD4B4}" presName="space" presStyleCnt="0"/>
      <dgm:spPr/>
    </dgm:pt>
    <dgm:pt modelId="{12F1AF66-674C-4F94-AD69-3306349DD186}" type="pres">
      <dgm:prSet presAssocID="{0ABD87C5-3021-4699-9908-801C11F1FA9A}" presName="composite" presStyleCnt="0"/>
      <dgm:spPr/>
    </dgm:pt>
    <dgm:pt modelId="{09A68C67-B63E-49EA-9824-39834AB3C090}" type="pres">
      <dgm:prSet presAssocID="{0ABD87C5-3021-4699-9908-801C11F1FA9A}" presName="parTx" presStyleLbl="alignNode1" presStyleIdx="4" presStyleCnt="5">
        <dgm:presLayoutVars>
          <dgm:chMax val="0"/>
          <dgm:chPref val="0"/>
          <dgm:bulletEnabled val="1"/>
        </dgm:presLayoutVars>
      </dgm:prSet>
      <dgm:spPr/>
    </dgm:pt>
    <dgm:pt modelId="{45CAEFF6-46E8-498B-9A0D-B5F189A91D22}" type="pres">
      <dgm:prSet presAssocID="{0ABD87C5-3021-4699-9908-801C11F1FA9A}" presName="desTx" presStyleLbl="alignAccFollowNode1" presStyleIdx="4" presStyleCnt="5">
        <dgm:presLayoutVars>
          <dgm:bulletEnabled val="1"/>
        </dgm:presLayoutVars>
      </dgm:prSet>
      <dgm:spPr/>
    </dgm:pt>
  </dgm:ptLst>
  <dgm:cxnLst>
    <dgm:cxn modelId="{11F0720B-6B2D-4023-9F85-9AA0706203D9}" type="presOf" srcId="{B665BB76-70FE-47E8-B3DB-4088440D6AC6}" destId="{A833EBE1-A3CE-4DE9-93F7-7DD2D14525A3}" srcOrd="0" destOrd="1" presId="urn:microsoft.com/office/officeart/2005/8/layout/hList1"/>
    <dgm:cxn modelId="{9A874E0E-5DCC-47AF-9BE4-5B70340CBD8C}" type="presOf" srcId="{810E2A59-21CD-46D7-A24E-9879AC0C8E3C}" destId="{45CAEFF6-46E8-498B-9A0D-B5F189A91D22}" srcOrd="0" destOrd="6" presId="urn:microsoft.com/office/officeart/2005/8/layout/hList1"/>
    <dgm:cxn modelId="{49857815-55A5-4925-A8F1-96DE59897FB0}" type="presOf" srcId="{05B9C7D7-42AE-463E-AFA4-44DBC03895CD}" destId="{45CAEFF6-46E8-498B-9A0D-B5F189A91D22}" srcOrd="0" destOrd="1" presId="urn:microsoft.com/office/officeart/2005/8/layout/hList1"/>
    <dgm:cxn modelId="{4138191B-2D52-4728-AA2C-BF61A7C3703F}" type="presOf" srcId="{09048B74-AA88-4985-964B-B74A9D0A5EBA}" destId="{163BFC04-26AE-432A-A2B8-0676DA6BC81A}" srcOrd="0" destOrd="0" presId="urn:microsoft.com/office/officeart/2005/8/layout/hList1"/>
    <dgm:cxn modelId="{87E45E1E-6974-4A87-B5F7-60001BE669C3}" srcId="{7D652B20-F841-4652-83BF-D525406A37F6}" destId="{70DC29AA-3C98-443C-AB42-DF7C1F3F3671}" srcOrd="1" destOrd="0" parTransId="{5ECE7E73-9635-497A-B633-1CC312192B94}" sibTransId="{6D25BBB2-2EAE-44AC-AADD-0226B1719A16}"/>
    <dgm:cxn modelId="{C3691D1F-A541-451C-BC33-F4E9130635ED}" srcId="{8D534F85-772B-419F-9C37-6D9D93B42E43}" destId="{4C566F34-0F77-4B27-8A37-D95F5071BB78}" srcOrd="2" destOrd="0" parTransId="{5349F118-8C73-48A1-9B83-99B57D975B5D}" sibTransId="{A4B20DBD-14FD-4342-8B55-45246D2052C2}"/>
    <dgm:cxn modelId="{873FE221-0063-4039-B755-88F9B6271530}" srcId="{8D534F85-772B-419F-9C37-6D9D93B42E43}" destId="{94141A85-B008-4DA4-8BA0-049151554319}" srcOrd="4" destOrd="0" parTransId="{DD7EA226-1B49-4C73-A6FA-6B9EEF16F19D}" sibTransId="{A662B2FA-59A2-4B78-BE4B-230BAAA71778}"/>
    <dgm:cxn modelId="{13919922-105B-4EC7-8755-6A8A14AA7DE4}" srcId="{906F968F-7C70-448B-A7DD-E055BD6C851B}" destId="{7DFAE732-F24C-460A-A331-49243231F61A}" srcOrd="3" destOrd="0" parTransId="{C3685D20-9ED3-400A-8329-9CC6B956B227}" sibTransId="{7B3D697B-32AC-476B-8C9A-82EE9A2E3A7B}"/>
    <dgm:cxn modelId="{2A12EB24-EC67-4091-9E7A-07A825ED8D66}" srcId="{8D534F85-772B-419F-9C37-6D9D93B42E43}" destId="{A91DB291-01E5-4177-B558-3885B0E1F8CD}" srcOrd="1" destOrd="0" parTransId="{1CAF3D8E-D2F4-420F-9B9E-4294EF89BC9D}" sibTransId="{5CCB8148-FFBC-4E86-9116-B6D850063698}"/>
    <dgm:cxn modelId="{BA17552A-BB78-4CD5-B374-2D6441C60450}" type="presOf" srcId="{D5FC23E3-49CF-41AC-A433-73CEF19C6E9A}" destId="{BF025F6A-0903-4551-A4A6-1BD11E6E5F07}" srcOrd="0" destOrd="0" presId="urn:microsoft.com/office/officeart/2005/8/layout/hList1"/>
    <dgm:cxn modelId="{4FF77E2D-BA1F-4BE4-A1A0-5B188AAA4F2D}" type="presOf" srcId="{7D652B20-F841-4652-83BF-D525406A37F6}" destId="{0D592B27-B7D3-4FCD-98BD-02F46A89944C}" srcOrd="0" destOrd="0" presId="urn:microsoft.com/office/officeart/2005/8/layout/hList1"/>
    <dgm:cxn modelId="{76C1932F-3B55-47DF-ABDC-2C75C6FA8928}" type="presOf" srcId="{D113923A-E624-428A-9B47-AD7CE9268D89}" destId="{A833EBE1-A3CE-4DE9-93F7-7DD2D14525A3}" srcOrd="0" destOrd="4" presId="urn:microsoft.com/office/officeart/2005/8/layout/hList1"/>
    <dgm:cxn modelId="{BC8DB730-818A-41A0-8111-3B6BBE9BC147}" type="presOf" srcId="{EC1828F1-B826-4D0E-A4F0-3C7435BFF762}" destId="{8E6DEA0A-3811-4A54-ABC6-BD30E358F81C}" srcOrd="0" destOrd="7" presId="urn:microsoft.com/office/officeart/2005/8/layout/hList1"/>
    <dgm:cxn modelId="{ED7DD238-BC77-42B5-8229-8808EBFB75AA}" type="presOf" srcId="{0ABD87C5-3021-4699-9908-801C11F1FA9A}" destId="{09A68C67-B63E-49EA-9824-39834AB3C090}" srcOrd="0" destOrd="0" presId="urn:microsoft.com/office/officeart/2005/8/layout/hList1"/>
    <dgm:cxn modelId="{39A7C83F-4596-4701-801A-E13A1076CE25}" type="presOf" srcId="{D02A4350-8BB0-4E93-B662-4387AB449984}" destId="{798D41CB-0368-4C15-9D9E-216390F58701}" srcOrd="0" destOrd="0" presId="urn:microsoft.com/office/officeart/2005/8/layout/hList1"/>
    <dgm:cxn modelId="{DCAAD83F-5832-4F61-983E-7B785C0FF4AE}" srcId="{7D652B20-F841-4652-83BF-D525406A37F6}" destId="{0ABD87C5-3021-4699-9908-801C11F1FA9A}" srcOrd="4" destOrd="0" parTransId="{19980EA7-988F-4EC0-8732-C48376382780}" sibTransId="{1E02D7D6-0D99-40B8-9F9E-2CC52593DF5D}"/>
    <dgm:cxn modelId="{FC29E441-9EB9-4F3F-B340-C456F4CB229C}" srcId="{906F968F-7C70-448B-A7DD-E055BD6C851B}" destId="{0E86D3C3-EC07-408D-A95F-4FE28D77C9DD}" srcOrd="1" destOrd="0" parTransId="{28029D38-CDC3-40B9-82E3-BC3914F6E9E2}" sibTransId="{B281EE2C-9943-4888-B003-0DFCAD741732}"/>
    <dgm:cxn modelId="{952E2044-99A6-40CA-ACE2-1E7683F69F69}" type="presOf" srcId="{9FF530EC-0EF3-44D7-9C63-E773A787799C}" destId="{A833EBE1-A3CE-4DE9-93F7-7DD2D14525A3}" srcOrd="0" destOrd="0" presId="urn:microsoft.com/office/officeart/2005/8/layout/hList1"/>
    <dgm:cxn modelId="{7ABB3B44-D681-4F3D-A017-E02AA7DDB5B3}" type="presOf" srcId="{A91DB291-01E5-4177-B558-3885B0E1F8CD}" destId="{8E6DEA0A-3811-4A54-ABC6-BD30E358F81C}" srcOrd="0" destOrd="1" presId="urn:microsoft.com/office/officeart/2005/8/layout/hList1"/>
    <dgm:cxn modelId="{E0C3F149-7552-414D-9AFC-B2FAE74AFF16}" type="presOf" srcId="{214C3E15-ADF1-457F-9BC9-90A0F4ABFA2E}" destId="{45CAEFF6-46E8-498B-9A0D-B5F189A91D22}" srcOrd="0" destOrd="3" presId="urn:microsoft.com/office/officeart/2005/8/layout/hList1"/>
    <dgm:cxn modelId="{CA51E86C-4C05-45AD-BA91-80D954F990A2}" srcId="{B7F19019-C790-4D1A-BF45-711D03658D99}" destId="{810E2A59-21CD-46D7-A24E-9879AC0C8E3C}" srcOrd="1" destOrd="0" parTransId="{F3587F2F-6035-4F5E-B6ED-91BD9B3666CC}" sibTransId="{98D199CA-5A4F-4A95-A765-7B8F2FAE87C5}"/>
    <dgm:cxn modelId="{3D9F236D-0BC4-41F8-A430-24344A9DEDF3}" srcId="{906F968F-7C70-448B-A7DD-E055BD6C851B}" destId="{9FABD96A-C4BE-4D95-A7E4-79291D0876F0}" srcOrd="2" destOrd="0" parTransId="{5701A7C8-58BB-4ADB-B3B3-99BF4F21F873}" sibTransId="{E98D92B3-2FD3-4652-A70B-9D812F856A98}"/>
    <dgm:cxn modelId="{6FFA4A6F-1B5D-4052-97D1-7735C3280892}" type="presOf" srcId="{963DA6F6-285B-431F-9816-14CDDE61F144}" destId="{8E6DEA0A-3811-4A54-ABC6-BD30E358F81C}" srcOrd="0" destOrd="3" presId="urn:microsoft.com/office/officeart/2005/8/layout/hList1"/>
    <dgm:cxn modelId="{54A9F04F-2628-480B-ADAE-72B138A1E62F}" srcId="{906F968F-7C70-448B-A7DD-E055BD6C851B}" destId="{D5FC23E3-49CF-41AC-A433-73CEF19C6E9A}" srcOrd="0" destOrd="0" parTransId="{33AB32D4-9F1C-4963-A695-4B9CD640AFD0}" sibTransId="{4934BE06-BDAD-46C8-9D96-33B8F5E98494}"/>
    <dgm:cxn modelId="{1942FC6F-D112-414D-BAC4-00B31BEDF591}" type="presOf" srcId="{906F968F-7C70-448B-A7DD-E055BD6C851B}" destId="{3FD88DA5-C049-4713-9684-F2AE50EE24BC}" srcOrd="0" destOrd="0" presId="urn:microsoft.com/office/officeart/2005/8/layout/hList1"/>
    <dgm:cxn modelId="{86B80372-E29C-4F73-86DF-1816B21F7443}" srcId="{0ABD87C5-3021-4699-9908-801C11F1FA9A}" destId="{B7F19019-C790-4D1A-BF45-711D03658D99}" srcOrd="4" destOrd="0" parTransId="{4FA227C9-797D-43DE-9225-398B4F01D628}" sibTransId="{4288AFD0-9DA8-48A5-BC6B-6974FF341B7F}"/>
    <dgm:cxn modelId="{E06B7C72-04C6-4ED2-A3AB-87A4F30F3A8C}" srcId="{D02A4350-8BB0-4E93-B662-4387AB449984}" destId="{B665BB76-70FE-47E8-B3DB-4088440D6AC6}" srcOrd="1" destOrd="0" parTransId="{DF0A31FB-0DAC-4026-ABA6-89C0989D9932}" sibTransId="{083FA8C5-C8FA-48ED-92AD-61014C38844D}"/>
    <dgm:cxn modelId="{99EAED52-4488-442E-B287-0222B16CE562}" type="presOf" srcId="{0E86D3C3-EC07-408D-A95F-4FE28D77C9DD}" destId="{BF025F6A-0903-4551-A4A6-1BD11E6E5F07}" srcOrd="0" destOrd="1" presId="urn:microsoft.com/office/officeart/2005/8/layout/hList1"/>
    <dgm:cxn modelId="{326F9B54-F5CF-4807-B325-26C0E3A092CF}" srcId="{70DC29AA-3C98-443C-AB42-DF7C1F3F3671}" destId="{0594C313-0028-4595-93EC-72140F8F3B6A}" srcOrd="1" destOrd="0" parTransId="{24E380DA-9350-4C98-8C06-11A2E1BDEEFE}" sibTransId="{1E3E60DA-F53C-468A-B87F-A3321A826994}"/>
    <dgm:cxn modelId="{EC4B5B55-23D6-42C7-8A78-A7B313C12DF6}" srcId="{6FE9B4D4-4BB6-4F0A-B63B-07B5E414313E}" destId="{2BE992F0-8A02-4BA3-AE15-FF7565B89C76}" srcOrd="0" destOrd="0" parTransId="{16F8623A-C7BB-4A26-AD90-2C60E05101A6}" sibTransId="{E88A281A-8A08-4297-B6CA-08B921A07646}"/>
    <dgm:cxn modelId="{210D1B56-1916-43EF-BC57-4F5D0F34CCD4}" type="presOf" srcId="{048E9E28-59D2-4E0B-AAB3-44537F78F2AA}" destId="{45CAEFF6-46E8-498B-9A0D-B5F189A91D22}" srcOrd="0" destOrd="7" presId="urn:microsoft.com/office/officeart/2005/8/layout/hList1"/>
    <dgm:cxn modelId="{4B6E8576-843A-46AF-A14D-965CC5E1A066}" srcId="{70DC29AA-3C98-443C-AB42-DF7C1F3F3671}" destId="{E31C1F5A-1367-42B4-B4CF-6F85E694CC70}" srcOrd="3" destOrd="0" parTransId="{5EBF32F7-2A26-4BB5-8300-B9A1765728B3}" sibTransId="{77043AB7-7AB2-4CCE-A96B-E9F700D7C196}"/>
    <dgm:cxn modelId="{AB50B057-C336-46E5-98B5-DDBE346CF5D8}" srcId="{70DC29AA-3C98-443C-AB42-DF7C1F3F3671}" destId="{79D71674-84A8-4C10-951D-CC2ACC5B5362}" srcOrd="4" destOrd="0" parTransId="{E8AA0592-8F75-4607-8AA4-E073C7DC834E}" sibTransId="{8F41E493-C231-48AD-B43D-87A8FD326B1B}"/>
    <dgm:cxn modelId="{D5589E7F-75CD-4E83-AB9A-DBF593EB562C}" type="presOf" srcId="{22114E91-B71F-41CF-AA8C-0DE22DF59C86}" destId="{BF025F6A-0903-4551-A4A6-1BD11E6E5F07}" srcOrd="0" destOrd="7" presId="urn:microsoft.com/office/officeart/2005/8/layout/hList1"/>
    <dgm:cxn modelId="{8DF70C80-33A8-47E1-807F-100D663B0163}" type="presOf" srcId="{B7F19019-C790-4D1A-BF45-711D03658D99}" destId="{45CAEFF6-46E8-498B-9A0D-B5F189A91D22}" srcOrd="0" destOrd="4" presId="urn:microsoft.com/office/officeart/2005/8/layout/hList1"/>
    <dgm:cxn modelId="{A0BB5182-3C2A-42E3-87CF-2BA18E238221}" type="presOf" srcId="{7DFAE732-F24C-460A-A331-49243231F61A}" destId="{BF025F6A-0903-4551-A4A6-1BD11E6E5F07}" srcOrd="0" destOrd="3" presId="urn:microsoft.com/office/officeart/2005/8/layout/hList1"/>
    <dgm:cxn modelId="{34D76783-74F2-4EC8-B418-384C37079A6B}" srcId="{70DC29AA-3C98-443C-AB42-DF7C1F3F3671}" destId="{09048B74-AA88-4985-964B-B74A9D0A5EBA}" srcOrd="0" destOrd="0" parTransId="{0C7BD0D5-097A-42DF-8FE8-C0BCD62CD096}" sibTransId="{17ACB3FA-9185-4628-A12D-74C14C170626}"/>
    <dgm:cxn modelId="{F0BA9188-FA0D-4002-971C-7FB597CE8B76}" srcId="{B7F19019-C790-4D1A-BF45-711D03658D99}" destId="{6464B340-827F-4E8B-B3A1-8B42512A48A6}" srcOrd="0" destOrd="0" parTransId="{7D868684-CC38-43C7-A689-689E0BDF5C2B}" sibTransId="{1776A9B1-1E11-4D8D-AB5F-0381205C52D5}"/>
    <dgm:cxn modelId="{5A320A89-03A0-4F96-8927-12F10A6557D6}" type="presOf" srcId="{79D71674-84A8-4C10-951D-CC2ACC5B5362}" destId="{163BFC04-26AE-432A-A2B8-0676DA6BC81A}" srcOrd="0" destOrd="4" presId="urn:microsoft.com/office/officeart/2005/8/layout/hList1"/>
    <dgm:cxn modelId="{7E9A1789-45A7-4256-9182-254431713F3D}" type="presOf" srcId="{0CB92503-D96B-4EF3-A84B-F98A320D5491}" destId="{8E6DEA0A-3811-4A54-ABC6-BD30E358F81C}" srcOrd="0" destOrd="5" presId="urn:microsoft.com/office/officeart/2005/8/layout/hList1"/>
    <dgm:cxn modelId="{DEBA0090-43B5-44E3-ADEE-848F1551BB7A}" type="presOf" srcId="{E35003C8-3BCF-42A6-AC62-2A9CB6088867}" destId="{45CAEFF6-46E8-498B-9A0D-B5F189A91D22}" srcOrd="0" destOrd="0" presId="urn:microsoft.com/office/officeart/2005/8/layout/hList1"/>
    <dgm:cxn modelId="{6D469493-E046-44A7-85CF-8A378FC036FD}" srcId="{7D652B20-F841-4652-83BF-D525406A37F6}" destId="{8D534F85-772B-419F-9C37-6D9D93B42E43}" srcOrd="0" destOrd="0" parTransId="{317BD5B6-DB5A-4B25-B060-D59044DCF0EB}" sibTransId="{71BC37EF-032E-4D84-BE1D-28E01418C9B4}"/>
    <dgm:cxn modelId="{94AE9994-59A0-4C77-9C60-D64F5DFFA27E}" srcId="{906F968F-7C70-448B-A7DD-E055BD6C851B}" destId="{B664FB1D-04D2-468D-9FB6-99FE88613D18}" srcOrd="6" destOrd="0" parTransId="{130AFDC8-8A46-401E-B4BD-E9F4D9860BE1}" sibTransId="{E89BDFC8-5073-40CE-9BD4-0E5EE7EFA55E}"/>
    <dgm:cxn modelId="{E1869598-AA30-4576-8EED-5C9DE632D477}" type="presOf" srcId="{2BE992F0-8A02-4BA3-AE15-FF7565B89C76}" destId="{45CAEFF6-46E8-498B-9A0D-B5F189A91D22}" srcOrd="0" destOrd="9" presId="urn:microsoft.com/office/officeart/2005/8/layout/hList1"/>
    <dgm:cxn modelId="{CE3C719A-1198-410B-AC5A-7CD07A1E191A}" type="presOf" srcId="{70DC29AA-3C98-443C-AB42-DF7C1F3F3671}" destId="{5F1828A2-ADAC-4622-919B-ED4493548C5B}" srcOrd="0" destOrd="0" presId="urn:microsoft.com/office/officeart/2005/8/layout/hList1"/>
    <dgm:cxn modelId="{DF1A819D-F033-4FF7-A4CE-D8081E9D047D}" srcId="{8D534F85-772B-419F-9C37-6D9D93B42E43}" destId="{963DA6F6-285B-431F-9816-14CDDE61F144}" srcOrd="3" destOrd="0" parTransId="{DBD383DD-24EF-464C-88CA-B4221D9965B2}" sibTransId="{4F176BBE-0677-4A21-B357-034BFA33861A}"/>
    <dgm:cxn modelId="{CE8B059E-606A-40F7-87BD-4078EA11420E}" srcId="{94141A85-B008-4DA4-8BA0-049151554319}" destId="{23C42156-A3A5-480F-BA06-823DE8B3D927}" srcOrd="1" destOrd="0" parTransId="{F53CDD64-FB7E-43BC-A4BE-BAB11421A058}" sibTransId="{C600CE9F-B7DE-40FF-8CB2-41E1E6C169A9}"/>
    <dgm:cxn modelId="{16557D9E-C85E-4C49-8DA4-56FA66F44025}" type="presOf" srcId="{6FE9B4D4-4BB6-4F0A-B63B-07B5E414313E}" destId="{45CAEFF6-46E8-498B-9A0D-B5F189A91D22}" srcOrd="0" destOrd="8" presId="urn:microsoft.com/office/officeart/2005/8/layout/hList1"/>
    <dgm:cxn modelId="{C1AF1FA0-2DE0-4AC7-BB50-A7481E8B907C}" srcId="{906F968F-7C70-448B-A7DD-E055BD6C851B}" destId="{22114E91-B71F-41CF-AA8C-0DE22DF59C86}" srcOrd="7" destOrd="0" parTransId="{3E93B360-71D6-4AC3-8F96-E55BDFEC290E}" sibTransId="{130870A7-8013-4F7A-BAC0-B8087454724C}"/>
    <dgm:cxn modelId="{114BB1A3-F52A-4D0F-9349-8A337F21313A}" srcId="{906F968F-7C70-448B-A7DD-E055BD6C851B}" destId="{4A28B91A-E28E-44E9-9AE0-3C00589C95D8}" srcOrd="5" destOrd="0" parTransId="{0D02CAF4-68E9-467D-84CA-1B6A0A415946}" sibTransId="{1A1F4DD7-80F3-4DD3-9B02-E9A5E281EBE2}"/>
    <dgm:cxn modelId="{932239A4-1DD8-4B11-BDF7-676387BF8802}" type="presOf" srcId="{94141A85-B008-4DA4-8BA0-049151554319}" destId="{8E6DEA0A-3811-4A54-ABC6-BD30E358F81C}" srcOrd="0" destOrd="4" presId="urn:microsoft.com/office/officeart/2005/8/layout/hList1"/>
    <dgm:cxn modelId="{7A734EA6-E242-4331-9B1C-E29726292339}" type="presOf" srcId="{4C566F34-0F77-4B27-8A37-D95F5071BB78}" destId="{8E6DEA0A-3811-4A54-ABC6-BD30E358F81C}" srcOrd="0" destOrd="2" presId="urn:microsoft.com/office/officeart/2005/8/layout/hList1"/>
    <dgm:cxn modelId="{7B3546A8-461C-4EEC-AB36-842F4B1C7091}" type="presOf" srcId="{9FABD96A-C4BE-4D95-A7E4-79291D0876F0}" destId="{BF025F6A-0903-4551-A4A6-1BD11E6E5F07}" srcOrd="0" destOrd="2" presId="urn:microsoft.com/office/officeart/2005/8/layout/hList1"/>
    <dgm:cxn modelId="{1C0A03AA-75F9-4FDF-B709-A3678D31903C}" srcId="{7D652B20-F841-4652-83BF-D525406A37F6}" destId="{D02A4350-8BB0-4E93-B662-4387AB449984}" srcOrd="3" destOrd="0" parTransId="{376559F2-BEE1-4769-8FB3-0A7EF5D42BA7}" sibTransId="{37BE744A-E30B-47BE-85DB-96DCB26FD4B4}"/>
    <dgm:cxn modelId="{123B57AA-F617-493A-ABB4-094AB70227E8}" srcId="{70DC29AA-3C98-443C-AB42-DF7C1F3F3671}" destId="{18717FF7-2F28-45E9-8FAC-3EBC22250EAB}" srcOrd="2" destOrd="0" parTransId="{9A00CD8B-47BF-4FB3-BE69-3F063CD112E8}" sibTransId="{F5781B25-D91D-4FCA-AEDF-D16302554827}"/>
    <dgm:cxn modelId="{0F74E4AB-B63E-4E6F-A4D1-BF3788AD5817}" type="presOf" srcId="{E31C1F5A-1367-42B4-B4CF-6F85E694CC70}" destId="{163BFC04-26AE-432A-A2B8-0676DA6BC81A}" srcOrd="0" destOrd="3" presId="urn:microsoft.com/office/officeart/2005/8/layout/hList1"/>
    <dgm:cxn modelId="{56A549AC-2000-4283-B893-F49048AAE4D8}" type="presOf" srcId="{2AD706D4-171E-4C7B-B2ED-1B42292FC731}" destId="{A833EBE1-A3CE-4DE9-93F7-7DD2D14525A3}" srcOrd="0" destOrd="2" presId="urn:microsoft.com/office/officeart/2005/8/layout/hList1"/>
    <dgm:cxn modelId="{BB5844AD-E514-478D-9EA4-18DE568B7630}" srcId="{8D534F85-772B-419F-9C37-6D9D93B42E43}" destId="{92D616E1-A57E-4FCD-9083-96083FE1A1E9}" srcOrd="0" destOrd="0" parTransId="{7AA75314-EC43-448C-B408-63CDB0472CCB}" sibTransId="{56617924-827D-4EF3-ADD2-68801CEC02F9}"/>
    <dgm:cxn modelId="{2D2F23AE-1AC0-474B-BCDF-64DFEEEF58A2}" srcId="{0ABD87C5-3021-4699-9908-801C11F1FA9A}" destId="{05B9C7D7-42AE-463E-AFA4-44DBC03895CD}" srcOrd="1" destOrd="0" parTransId="{CED92B5C-A03F-4457-AE5E-016A4B4C82D1}" sibTransId="{0D1F51D0-BDC4-499D-82A8-19F7F08D0CB4}"/>
    <dgm:cxn modelId="{F5453DAF-0E1E-4C1B-88BD-AD9A1B6BC060}" type="presOf" srcId="{B664FB1D-04D2-468D-9FB6-99FE88613D18}" destId="{BF025F6A-0903-4551-A4A6-1BD11E6E5F07}" srcOrd="0" destOrd="6" presId="urn:microsoft.com/office/officeart/2005/8/layout/hList1"/>
    <dgm:cxn modelId="{414FDEB2-AAD7-45E2-8A27-19725989E7C7}" type="presOf" srcId="{8D534F85-772B-419F-9C37-6D9D93B42E43}" destId="{501F7644-4504-4DA8-8773-B3651F8D2295}" srcOrd="0" destOrd="0" presId="urn:microsoft.com/office/officeart/2005/8/layout/hList1"/>
    <dgm:cxn modelId="{2B085EB3-180C-4AFE-8A50-34E140234143}" type="presOf" srcId="{92D616E1-A57E-4FCD-9083-96083FE1A1E9}" destId="{8E6DEA0A-3811-4A54-ABC6-BD30E358F81C}" srcOrd="0" destOrd="0" presId="urn:microsoft.com/office/officeart/2005/8/layout/hList1"/>
    <dgm:cxn modelId="{5A8A1AB9-F4E8-4573-B659-96A76FD119CA}" srcId="{B7F19019-C790-4D1A-BF45-711D03658D99}" destId="{6FE9B4D4-4BB6-4F0A-B63B-07B5E414313E}" srcOrd="3" destOrd="0" parTransId="{70EDB560-67F0-4459-9BD8-F04954124D9C}" sibTransId="{D7FDF474-32EA-4F5B-856E-0A906243F204}"/>
    <dgm:cxn modelId="{8761FDBD-0E07-49CF-9E93-E69C851B49F1}" srcId="{0ABD87C5-3021-4699-9908-801C11F1FA9A}" destId="{214C3E15-ADF1-457F-9BC9-90A0F4ABFA2E}" srcOrd="3" destOrd="0" parTransId="{593D7F74-BB28-42C0-BF6B-EC8207D9ED81}" sibTransId="{1F385F26-948F-40BB-AAE2-C567C5AE4BB4}"/>
    <dgm:cxn modelId="{673889C1-C882-4480-8A5E-A2A1C8E6CD64}" type="presOf" srcId="{6464B340-827F-4E8B-B3A1-8B42512A48A6}" destId="{45CAEFF6-46E8-498B-9A0D-B5F189A91D22}" srcOrd="0" destOrd="5" presId="urn:microsoft.com/office/officeart/2005/8/layout/hList1"/>
    <dgm:cxn modelId="{153176C5-7B95-4099-A34B-17B2499CB935}" type="presOf" srcId="{0F8446B0-D26D-4B56-B7F9-022CE48BA439}" destId="{BF025F6A-0903-4551-A4A6-1BD11E6E5F07}" srcOrd="0" destOrd="4" presId="urn:microsoft.com/office/officeart/2005/8/layout/hList1"/>
    <dgm:cxn modelId="{34896ECA-AF01-496B-B467-E80C51999970}" type="presOf" srcId="{96D66DE3-F2E7-4BFB-8EB4-5DF85BA5D0E4}" destId="{45CAEFF6-46E8-498B-9A0D-B5F189A91D22}" srcOrd="0" destOrd="10" presId="urn:microsoft.com/office/officeart/2005/8/layout/hList1"/>
    <dgm:cxn modelId="{3693F8CC-8B7C-4A29-B89D-BAA42ABC804E}" type="presOf" srcId="{23C42156-A3A5-480F-BA06-823DE8B3D927}" destId="{8E6DEA0A-3811-4A54-ABC6-BD30E358F81C}" srcOrd="0" destOrd="6" presId="urn:microsoft.com/office/officeart/2005/8/layout/hList1"/>
    <dgm:cxn modelId="{97EA27CD-B186-497D-BC11-E6F6B94AC1AD}" srcId="{0ABD87C5-3021-4699-9908-801C11F1FA9A}" destId="{E35003C8-3BCF-42A6-AC62-2A9CB6088867}" srcOrd="0" destOrd="0" parTransId="{53D1A85A-C3C3-435D-81AD-517AF13282FE}" sibTransId="{0FCD1B4B-901A-469C-890F-0C28CCBF4408}"/>
    <dgm:cxn modelId="{D970A5D0-6DC1-4506-9579-F733CE569F87}" type="presOf" srcId="{9D19AE7C-3C97-4E82-B40A-7C9CCB07FFE6}" destId="{45CAEFF6-46E8-498B-9A0D-B5F189A91D22}" srcOrd="0" destOrd="2" presId="urn:microsoft.com/office/officeart/2005/8/layout/hList1"/>
    <dgm:cxn modelId="{32FEB4D8-A1C8-4A7E-AFDD-56ED64D22C64}" srcId="{D02A4350-8BB0-4E93-B662-4387AB449984}" destId="{2AD706D4-171E-4C7B-B2ED-1B42292FC731}" srcOrd="2" destOrd="0" parTransId="{BCB8A155-BE2B-4B6F-B1B9-E7F94BF991ED}" sibTransId="{1C6610D2-9B2F-484F-836E-A97E16965375}"/>
    <dgm:cxn modelId="{F45148DA-E6E4-4030-B375-BDB7C535166E}" type="presOf" srcId="{0594C313-0028-4595-93EC-72140F8F3B6A}" destId="{163BFC04-26AE-432A-A2B8-0676DA6BC81A}" srcOrd="0" destOrd="1" presId="urn:microsoft.com/office/officeart/2005/8/layout/hList1"/>
    <dgm:cxn modelId="{361FFCDB-B8F6-44DC-B26E-83B24014497F}" srcId="{94141A85-B008-4DA4-8BA0-049151554319}" destId="{EC1828F1-B826-4D0E-A4F0-3C7435BFF762}" srcOrd="2" destOrd="0" parTransId="{894519BD-A65B-48EB-9F40-1AF751216811}" sibTransId="{C3B07B77-513F-4238-880F-CB884DF8B230}"/>
    <dgm:cxn modelId="{E6488EE2-82EF-43E9-BC70-62F8841A93D9}" srcId="{D02A4350-8BB0-4E93-B662-4387AB449984}" destId="{D113923A-E624-428A-9B47-AD7CE9268D89}" srcOrd="4" destOrd="0" parTransId="{3A41C735-D0A5-4A9C-BF99-D234FE2015A2}" sibTransId="{42FEBA79-7F98-4FDD-8097-DB88F4E87ADD}"/>
    <dgm:cxn modelId="{D259B0E3-6EB7-439A-8BF7-39B0941F0BAB}" type="presOf" srcId="{18717FF7-2F28-45E9-8FAC-3EBC22250EAB}" destId="{163BFC04-26AE-432A-A2B8-0676DA6BC81A}" srcOrd="0" destOrd="2" presId="urn:microsoft.com/office/officeart/2005/8/layout/hList1"/>
    <dgm:cxn modelId="{746562E4-E1F4-44E2-8502-C6AF2D2B8197}" srcId="{6FE9B4D4-4BB6-4F0A-B63B-07B5E414313E}" destId="{96D66DE3-F2E7-4BFB-8EB4-5DF85BA5D0E4}" srcOrd="1" destOrd="0" parTransId="{80FE54BD-1109-4E0A-BA12-115B9DC45208}" sibTransId="{3933B0F7-C886-4D5C-ACEC-094D97C6DC2B}"/>
    <dgm:cxn modelId="{74AF4AE5-80C8-479D-9DA1-BA81EB5FFAC0}" srcId="{B7F19019-C790-4D1A-BF45-711D03658D99}" destId="{048E9E28-59D2-4E0B-AAB3-44537F78F2AA}" srcOrd="2" destOrd="0" parTransId="{DF241B5B-547A-48CB-A719-339C610E8E08}" sibTransId="{D92D3659-A0D2-4319-86DC-42380EAB76D0}"/>
    <dgm:cxn modelId="{3D9F5AE8-3081-46FA-A9E6-86450904FA8A}" srcId="{D02A4350-8BB0-4E93-B662-4387AB449984}" destId="{9FF530EC-0EF3-44D7-9C63-E773A787799C}" srcOrd="0" destOrd="0" parTransId="{7C47513D-4857-41F5-A40F-9AF46FA97C42}" sibTransId="{CE636F3A-A29A-4741-84D8-73C7B147AC40}"/>
    <dgm:cxn modelId="{603AEFE9-E0CB-46D9-9116-63BDEDEE1EFE}" srcId="{7D652B20-F841-4652-83BF-D525406A37F6}" destId="{906F968F-7C70-448B-A7DD-E055BD6C851B}" srcOrd="2" destOrd="0" parTransId="{CA47CF29-EC55-4C15-AE95-E47A9F9C7451}" sibTransId="{DEE662FC-85E4-4934-A0C6-560791CEC88F}"/>
    <dgm:cxn modelId="{C4007BEB-AF59-4BC5-ADC8-ACE41C85A80C}" srcId="{94141A85-B008-4DA4-8BA0-049151554319}" destId="{0CB92503-D96B-4EF3-A84B-F98A320D5491}" srcOrd="0" destOrd="0" parTransId="{8E8866D0-76F5-4AD8-9982-52E33B5C1319}" sibTransId="{7C3DF9F0-69EE-4639-9C23-F8050E93468C}"/>
    <dgm:cxn modelId="{66F6E8EB-D02A-490D-A7C6-D127840255A9}" srcId="{0ABD87C5-3021-4699-9908-801C11F1FA9A}" destId="{9D19AE7C-3C97-4E82-B40A-7C9CCB07FFE6}" srcOrd="2" destOrd="0" parTransId="{D5033103-22D3-410C-A420-D07C1BF33EDC}" sibTransId="{B1208030-9EC8-4CF7-A5D8-FED5F3EC7EFF}"/>
    <dgm:cxn modelId="{D9B152EF-20BD-4552-90B4-B966D2D6435A}" type="presOf" srcId="{FD7B330F-7CD1-4FC5-A742-4356310812B1}" destId="{A833EBE1-A3CE-4DE9-93F7-7DD2D14525A3}" srcOrd="0" destOrd="3" presId="urn:microsoft.com/office/officeart/2005/8/layout/hList1"/>
    <dgm:cxn modelId="{B341BAF2-9FC2-49F5-A908-817D12FB875C}" srcId="{D02A4350-8BB0-4E93-B662-4387AB449984}" destId="{FD7B330F-7CD1-4FC5-A742-4356310812B1}" srcOrd="3" destOrd="0" parTransId="{29D533C0-DB8C-44BE-8444-F4669F9FF6B2}" sibTransId="{C7E4988B-63DF-40F6-B712-1392DFC1FFDA}"/>
    <dgm:cxn modelId="{CB8E57F9-2775-4C1D-8E96-EEA85D69C46C}" srcId="{906F968F-7C70-448B-A7DD-E055BD6C851B}" destId="{0F8446B0-D26D-4B56-B7F9-022CE48BA439}" srcOrd="4" destOrd="0" parTransId="{BA808043-000F-4BEB-91CD-4D87BF6967C0}" sibTransId="{A9235277-7762-4DA2-90B4-1692D22BA316}"/>
    <dgm:cxn modelId="{8BCEFCF9-A6FE-4D96-B9F1-052F70FD9041}" type="presOf" srcId="{4A28B91A-E28E-44E9-9AE0-3C00589C95D8}" destId="{BF025F6A-0903-4551-A4A6-1BD11E6E5F07}" srcOrd="0" destOrd="5" presId="urn:microsoft.com/office/officeart/2005/8/layout/hList1"/>
    <dgm:cxn modelId="{7B121E7D-2639-45DC-A73F-A066B66069CF}" type="presParOf" srcId="{0D592B27-B7D3-4FCD-98BD-02F46A89944C}" destId="{06161ECF-BBBF-4CE6-841D-9E44C8403D6F}" srcOrd="0" destOrd="0" presId="urn:microsoft.com/office/officeart/2005/8/layout/hList1"/>
    <dgm:cxn modelId="{FB80277F-00F8-4D01-9ACA-85F025ACC7B7}" type="presParOf" srcId="{06161ECF-BBBF-4CE6-841D-9E44C8403D6F}" destId="{501F7644-4504-4DA8-8773-B3651F8D2295}" srcOrd="0" destOrd="0" presId="urn:microsoft.com/office/officeart/2005/8/layout/hList1"/>
    <dgm:cxn modelId="{3CD1DE76-8955-4F76-8BE5-939FC5DBC8BC}" type="presParOf" srcId="{06161ECF-BBBF-4CE6-841D-9E44C8403D6F}" destId="{8E6DEA0A-3811-4A54-ABC6-BD30E358F81C}" srcOrd="1" destOrd="0" presId="urn:microsoft.com/office/officeart/2005/8/layout/hList1"/>
    <dgm:cxn modelId="{DAD454C3-C011-4E71-8981-7EF68B0F7D19}" type="presParOf" srcId="{0D592B27-B7D3-4FCD-98BD-02F46A89944C}" destId="{96BC5514-DB6B-40CC-9D58-76FA73C6F7CD}" srcOrd="1" destOrd="0" presId="urn:microsoft.com/office/officeart/2005/8/layout/hList1"/>
    <dgm:cxn modelId="{910502B6-05D5-4ED6-B1CD-69426DC66950}" type="presParOf" srcId="{0D592B27-B7D3-4FCD-98BD-02F46A89944C}" destId="{AC4D3975-0B8E-49EE-A742-FD5AF5CCD065}" srcOrd="2" destOrd="0" presId="urn:microsoft.com/office/officeart/2005/8/layout/hList1"/>
    <dgm:cxn modelId="{269043D2-2E82-4A87-984E-7374556FFAB9}" type="presParOf" srcId="{AC4D3975-0B8E-49EE-A742-FD5AF5CCD065}" destId="{5F1828A2-ADAC-4622-919B-ED4493548C5B}" srcOrd="0" destOrd="0" presId="urn:microsoft.com/office/officeart/2005/8/layout/hList1"/>
    <dgm:cxn modelId="{3EF925B1-250F-4559-BCDF-3840CB5394A8}" type="presParOf" srcId="{AC4D3975-0B8E-49EE-A742-FD5AF5CCD065}" destId="{163BFC04-26AE-432A-A2B8-0676DA6BC81A}" srcOrd="1" destOrd="0" presId="urn:microsoft.com/office/officeart/2005/8/layout/hList1"/>
    <dgm:cxn modelId="{EB03C312-7641-4FBC-A674-04A154598BA7}" type="presParOf" srcId="{0D592B27-B7D3-4FCD-98BD-02F46A89944C}" destId="{16342DB2-36AA-4214-BF95-E9A714EE78A7}" srcOrd="3" destOrd="0" presId="urn:microsoft.com/office/officeart/2005/8/layout/hList1"/>
    <dgm:cxn modelId="{E8E9BBBE-96D0-4573-8F33-CC3A4F70DA9C}" type="presParOf" srcId="{0D592B27-B7D3-4FCD-98BD-02F46A89944C}" destId="{20CBAB34-F558-4DE9-867C-8512D237C62B}" srcOrd="4" destOrd="0" presId="urn:microsoft.com/office/officeart/2005/8/layout/hList1"/>
    <dgm:cxn modelId="{C69B4E58-823A-4036-BDC0-F3A9768003C6}" type="presParOf" srcId="{20CBAB34-F558-4DE9-867C-8512D237C62B}" destId="{3FD88DA5-C049-4713-9684-F2AE50EE24BC}" srcOrd="0" destOrd="0" presId="urn:microsoft.com/office/officeart/2005/8/layout/hList1"/>
    <dgm:cxn modelId="{9C7AA802-2913-4E0D-A8A8-EE15285D4B82}" type="presParOf" srcId="{20CBAB34-F558-4DE9-867C-8512D237C62B}" destId="{BF025F6A-0903-4551-A4A6-1BD11E6E5F07}" srcOrd="1" destOrd="0" presId="urn:microsoft.com/office/officeart/2005/8/layout/hList1"/>
    <dgm:cxn modelId="{3C55E106-7509-4261-90C4-82133D1E6F81}" type="presParOf" srcId="{0D592B27-B7D3-4FCD-98BD-02F46A89944C}" destId="{AEDDB670-E952-4BB4-BA90-0DEAA7D05688}" srcOrd="5" destOrd="0" presId="urn:microsoft.com/office/officeart/2005/8/layout/hList1"/>
    <dgm:cxn modelId="{F5AA572F-D42A-4588-8015-8B35A04ED789}" type="presParOf" srcId="{0D592B27-B7D3-4FCD-98BD-02F46A89944C}" destId="{6451832D-09E9-4DB5-9A5D-9283E127AECA}" srcOrd="6" destOrd="0" presId="urn:microsoft.com/office/officeart/2005/8/layout/hList1"/>
    <dgm:cxn modelId="{4CC032E9-4DDD-43B8-AFF2-C1F7566E1BA1}" type="presParOf" srcId="{6451832D-09E9-4DB5-9A5D-9283E127AECA}" destId="{798D41CB-0368-4C15-9D9E-216390F58701}" srcOrd="0" destOrd="0" presId="urn:microsoft.com/office/officeart/2005/8/layout/hList1"/>
    <dgm:cxn modelId="{74D9B282-9BFC-4D20-9E9D-695BAA94AF33}" type="presParOf" srcId="{6451832D-09E9-4DB5-9A5D-9283E127AECA}" destId="{A833EBE1-A3CE-4DE9-93F7-7DD2D14525A3}" srcOrd="1" destOrd="0" presId="urn:microsoft.com/office/officeart/2005/8/layout/hList1"/>
    <dgm:cxn modelId="{B1313CDE-0891-4DC6-BCCC-59B980AD4AF9}" type="presParOf" srcId="{0D592B27-B7D3-4FCD-98BD-02F46A89944C}" destId="{ED3FC6F0-AB74-4C54-BE4A-F0025025CC14}" srcOrd="7" destOrd="0" presId="urn:microsoft.com/office/officeart/2005/8/layout/hList1"/>
    <dgm:cxn modelId="{E60E7111-D9BE-4059-86AE-0ABA35FDAA5C}" type="presParOf" srcId="{0D592B27-B7D3-4FCD-98BD-02F46A89944C}" destId="{12F1AF66-674C-4F94-AD69-3306349DD186}" srcOrd="8" destOrd="0" presId="urn:microsoft.com/office/officeart/2005/8/layout/hList1"/>
    <dgm:cxn modelId="{CC058ABF-4512-4A0B-8862-493D79E3C328}" type="presParOf" srcId="{12F1AF66-674C-4F94-AD69-3306349DD186}" destId="{09A68C67-B63E-49EA-9824-39834AB3C090}" srcOrd="0" destOrd="0" presId="urn:microsoft.com/office/officeart/2005/8/layout/hList1"/>
    <dgm:cxn modelId="{9B6D2218-7764-474D-B608-804F3E330C0C}" type="presParOf" srcId="{12F1AF66-674C-4F94-AD69-3306349DD186}" destId="{45CAEFF6-46E8-498B-9A0D-B5F189A91D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6F1EAF5-2549-4D9F-B028-6477DF69FEA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E"/>
        </a:p>
      </dgm:t>
    </dgm:pt>
    <dgm:pt modelId="{5C75482A-D04B-44B7-999E-4A7DC10681D1}">
      <dgm:prSet phldrT="[Text]"/>
      <dgm:spPr/>
      <dgm:t>
        <a:bodyPr/>
        <a:lstStyle/>
        <a:p>
          <a:r>
            <a:rPr lang="en-IE" dirty="0"/>
            <a:t>All Employees</a:t>
          </a:r>
        </a:p>
      </dgm:t>
    </dgm:pt>
    <dgm:pt modelId="{3FA233BC-879D-46FA-91FF-9A519BE1567C}" type="parTrans" cxnId="{C6D470E1-DF7C-4D43-A842-EEDD2D318E2D}">
      <dgm:prSet/>
      <dgm:spPr/>
      <dgm:t>
        <a:bodyPr/>
        <a:lstStyle/>
        <a:p>
          <a:endParaRPr lang="en-IE"/>
        </a:p>
      </dgm:t>
    </dgm:pt>
    <dgm:pt modelId="{6E9133F9-5133-48D3-9168-82E7EEA13DFE}" type="sibTrans" cxnId="{C6D470E1-DF7C-4D43-A842-EEDD2D318E2D}">
      <dgm:prSet/>
      <dgm:spPr/>
      <dgm:t>
        <a:bodyPr/>
        <a:lstStyle/>
        <a:p>
          <a:endParaRPr lang="en-IE"/>
        </a:p>
      </dgm:t>
    </dgm:pt>
    <dgm:pt modelId="{4574A081-5095-46D1-BA03-918F7B5312ED}">
      <dgm:prSet phldrT="[Text]"/>
      <dgm:spPr/>
      <dgm:t>
        <a:bodyPr/>
        <a:lstStyle/>
        <a:p>
          <a:r>
            <a:rPr lang="en-IE" dirty="0"/>
            <a:t>By engaging employees to identify opportunities for improvement, participate in Kaizen events, and empowering them to resolve problems when they occur, every employee can play a part in the deployment of TEOA &amp; the transformation process in his or her part of the business. </a:t>
          </a:r>
        </a:p>
      </dgm:t>
    </dgm:pt>
    <dgm:pt modelId="{AAC567CB-0B4F-4F66-B2FB-194495CC329B}" type="parTrans" cxnId="{C4E2DBD5-9D2B-4826-88E4-35C27200F335}">
      <dgm:prSet/>
      <dgm:spPr/>
      <dgm:t>
        <a:bodyPr/>
        <a:lstStyle/>
        <a:p>
          <a:endParaRPr lang="en-IE"/>
        </a:p>
      </dgm:t>
    </dgm:pt>
    <dgm:pt modelId="{4B02331C-4D0C-4945-B04D-CAB502D5E434}" type="sibTrans" cxnId="{C4E2DBD5-9D2B-4826-88E4-35C27200F335}">
      <dgm:prSet/>
      <dgm:spPr/>
      <dgm:t>
        <a:bodyPr/>
        <a:lstStyle/>
        <a:p>
          <a:endParaRPr lang="en-IE"/>
        </a:p>
      </dgm:t>
    </dgm:pt>
    <dgm:pt modelId="{79C8194A-02AE-46AD-B1CD-714ECB36EB8F}">
      <dgm:prSet phldrT="[Text]"/>
      <dgm:spPr/>
      <dgm:t>
        <a:bodyPr/>
        <a:lstStyle/>
        <a:p>
          <a:r>
            <a:rPr lang="en-IE" dirty="0"/>
            <a:t>TEOA Kaizen Facilitators</a:t>
          </a:r>
        </a:p>
      </dgm:t>
    </dgm:pt>
    <dgm:pt modelId="{DB40A771-6B64-42C5-98FB-7CD591FD9E92}" type="parTrans" cxnId="{ECF37DBA-8960-45E6-9927-89296A5DA76D}">
      <dgm:prSet/>
      <dgm:spPr/>
      <dgm:t>
        <a:bodyPr/>
        <a:lstStyle/>
        <a:p>
          <a:endParaRPr lang="en-IE"/>
        </a:p>
      </dgm:t>
    </dgm:pt>
    <dgm:pt modelId="{96D88BFE-7827-4005-8B7E-090113187FBA}" type="sibTrans" cxnId="{ECF37DBA-8960-45E6-9927-89296A5DA76D}">
      <dgm:prSet/>
      <dgm:spPr/>
      <dgm:t>
        <a:bodyPr/>
        <a:lstStyle/>
        <a:p>
          <a:endParaRPr lang="en-IE"/>
        </a:p>
      </dgm:t>
    </dgm:pt>
    <dgm:pt modelId="{17884F93-2923-468A-988E-873EE5274D17}">
      <dgm:prSet phldrT="[Text]"/>
      <dgm:spPr/>
      <dgm:t>
        <a:bodyPr/>
        <a:lstStyle/>
        <a:p>
          <a:r>
            <a:rPr lang="en-IE" dirty="0"/>
            <a:t>In both implementation roadmaps (Fundamental &amp; Value Stream Transformation) there will be specific projects identified that will present breakthrough improvement opportunities. A mechanism for completing / implementing these actions and projects could come in the form of a Kaizen Event. A kaizen event is an uninterrupted focused improvement activity that typically takes place over 3-5 days.</a:t>
          </a:r>
        </a:p>
      </dgm:t>
    </dgm:pt>
    <dgm:pt modelId="{9BFCF30C-69CF-4566-BE27-9B275AECD6A3}" type="parTrans" cxnId="{FDB073C8-84D5-4D7A-9783-09023D853BA5}">
      <dgm:prSet/>
      <dgm:spPr/>
      <dgm:t>
        <a:bodyPr/>
        <a:lstStyle/>
        <a:p>
          <a:endParaRPr lang="en-IE"/>
        </a:p>
      </dgm:t>
    </dgm:pt>
    <dgm:pt modelId="{2F78210A-5AB7-4CC8-8770-579C50FAB853}" type="sibTrans" cxnId="{FDB073C8-84D5-4D7A-9783-09023D853BA5}">
      <dgm:prSet/>
      <dgm:spPr/>
      <dgm:t>
        <a:bodyPr/>
        <a:lstStyle/>
        <a:p>
          <a:endParaRPr lang="en-IE"/>
        </a:p>
      </dgm:t>
    </dgm:pt>
    <dgm:pt modelId="{8A467C23-F43F-4602-9CCC-AE32A7DEF2A2}">
      <dgm:prSet phldrT="[Text]"/>
      <dgm:spPr/>
      <dgm:t>
        <a:bodyPr/>
        <a:lstStyle/>
        <a:p>
          <a:r>
            <a:rPr lang="en-IE" dirty="0"/>
            <a:t>TEOA Practitioners</a:t>
          </a:r>
        </a:p>
      </dgm:t>
    </dgm:pt>
    <dgm:pt modelId="{3FDA9E2E-A5DD-4D01-82C7-15618ED30EA8}" type="parTrans" cxnId="{A5CBCC63-ACA6-4B6D-92AF-662C0B05FAC3}">
      <dgm:prSet/>
      <dgm:spPr/>
      <dgm:t>
        <a:bodyPr/>
        <a:lstStyle/>
        <a:p>
          <a:endParaRPr lang="en-IE"/>
        </a:p>
      </dgm:t>
    </dgm:pt>
    <dgm:pt modelId="{BE1F4BE2-4CB7-4DC9-A28D-244A37A67532}" type="sibTrans" cxnId="{A5CBCC63-ACA6-4B6D-92AF-662C0B05FAC3}">
      <dgm:prSet/>
      <dgm:spPr/>
      <dgm:t>
        <a:bodyPr/>
        <a:lstStyle/>
        <a:p>
          <a:endParaRPr lang="en-IE"/>
        </a:p>
      </dgm:t>
    </dgm:pt>
    <dgm:pt modelId="{21A28C24-A89B-4DDF-9A5C-FCFA68789506}">
      <dgm:prSet phldrT="[Text]"/>
      <dgm:spPr/>
      <dgm:t>
        <a:bodyPr/>
        <a:lstStyle/>
        <a:p>
          <a:r>
            <a:rPr lang="en-IE" dirty="0"/>
            <a:t>Practitioners must be able to lead site wide and Value Stream initiatives and assist with the implementation. </a:t>
          </a:r>
        </a:p>
      </dgm:t>
    </dgm:pt>
    <dgm:pt modelId="{451C415B-F80A-4E18-AFAB-DCF7E5758A0D}" type="parTrans" cxnId="{C83AB0C2-4A82-4C57-AB99-8BA02B3D8B61}">
      <dgm:prSet/>
      <dgm:spPr/>
      <dgm:t>
        <a:bodyPr/>
        <a:lstStyle/>
        <a:p>
          <a:endParaRPr lang="en-IE"/>
        </a:p>
      </dgm:t>
    </dgm:pt>
    <dgm:pt modelId="{5DD9292F-14C5-4FF9-AF73-DBDD92124389}" type="sibTrans" cxnId="{C83AB0C2-4A82-4C57-AB99-8BA02B3D8B61}">
      <dgm:prSet/>
      <dgm:spPr/>
      <dgm:t>
        <a:bodyPr/>
        <a:lstStyle/>
        <a:p>
          <a:endParaRPr lang="en-IE"/>
        </a:p>
      </dgm:t>
    </dgm:pt>
    <dgm:pt modelId="{C3435324-ABBD-4E8A-98B1-0863801CA40A}">
      <dgm:prSet phldrT="[Text]"/>
      <dgm:spPr/>
      <dgm:t>
        <a:bodyPr/>
        <a:lstStyle/>
        <a:p>
          <a:r>
            <a:rPr lang="en-IE" dirty="0"/>
            <a:t>Lean principles and TEOA can then begin to become a part of the mindset and culture at all layers of the organization. </a:t>
          </a:r>
        </a:p>
      </dgm:t>
    </dgm:pt>
    <dgm:pt modelId="{83117397-D960-4120-9F47-D14E0569ECFC}" type="parTrans" cxnId="{2FDFDD65-1DD1-4F2E-9EFF-2DDFCFA2EDB2}">
      <dgm:prSet/>
      <dgm:spPr/>
      <dgm:t>
        <a:bodyPr/>
        <a:lstStyle/>
        <a:p>
          <a:endParaRPr lang="en-IE"/>
        </a:p>
      </dgm:t>
    </dgm:pt>
    <dgm:pt modelId="{1AD9DD45-CE38-443F-AA20-883DE52FF9FA}" type="sibTrans" cxnId="{2FDFDD65-1DD1-4F2E-9EFF-2DDFCFA2EDB2}">
      <dgm:prSet/>
      <dgm:spPr/>
      <dgm:t>
        <a:bodyPr/>
        <a:lstStyle/>
        <a:p>
          <a:endParaRPr lang="en-IE"/>
        </a:p>
      </dgm:t>
    </dgm:pt>
    <dgm:pt modelId="{43C186ED-4D0A-45D8-9D12-23A483DEA768}">
      <dgm:prSet phldrT="[Text]"/>
      <dgm:spPr/>
      <dgm:t>
        <a:bodyPr/>
        <a:lstStyle/>
        <a:p>
          <a:r>
            <a:rPr lang="en-IE" dirty="0"/>
            <a:t>Recommended Training: TEOA Overview Recommended Learnings: Basic Problem Solving Training, TEOA Tool Specific </a:t>
          </a:r>
        </a:p>
      </dgm:t>
    </dgm:pt>
    <dgm:pt modelId="{4504D303-510E-4C6C-9AD0-03617D3350E4}" type="parTrans" cxnId="{113C00AA-33FA-439C-BDDA-C3CFF4281451}">
      <dgm:prSet/>
      <dgm:spPr/>
      <dgm:t>
        <a:bodyPr/>
        <a:lstStyle/>
        <a:p>
          <a:endParaRPr lang="en-IE"/>
        </a:p>
      </dgm:t>
    </dgm:pt>
    <dgm:pt modelId="{C3B9280A-13CD-4D03-B855-8734E1E71B5A}" type="sibTrans" cxnId="{113C00AA-33FA-439C-BDDA-C3CFF4281451}">
      <dgm:prSet/>
      <dgm:spPr/>
      <dgm:t>
        <a:bodyPr/>
        <a:lstStyle/>
        <a:p>
          <a:endParaRPr lang="en-IE"/>
        </a:p>
      </dgm:t>
    </dgm:pt>
    <dgm:pt modelId="{F34FAE4C-379C-4024-96ED-A8EC3961312F}">
      <dgm:prSet/>
      <dgm:spPr/>
      <dgm:t>
        <a:bodyPr/>
        <a:lstStyle/>
        <a:p>
          <a:endParaRPr lang="en-IE" dirty="0"/>
        </a:p>
      </dgm:t>
    </dgm:pt>
    <dgm:pt modelId="{1CF6EF66-8907-4571-905E-872C189B7226}" type="parTrans" cxnId="{7D573064-6442-42CD-BC96-24243509D99E}">
      <dgm:prSet/>
      <dgm:spPr/>
      <dgm:t>
        <a:bodyPr/>
        <a:lstStyle/>
        <a:p>
          <a:endParaRPr lang="en-IE"/>
        </a:p>
      </dgm:t>
    </dgm:pt>
    <dgm:pt modelId="{ABF865AC-DBC1-48CE-B34D-3AB5E926DEFE}" type="sibTrans" cxnId="{7D573064-6442-42CD-BC96-24243509D99E}">
      <dgm:prSet/>
      <dgm:spPr/>
      <dgm:t>
        <a:bodyPr/>
        <a:lstStyle/>
        <a:p>
          <a:endParaRPr lang="en-IE"/>
        </a:p>
      </dgm:t>
    </dgm:pt>
    <dgm:pt modelId="{A7311489-1EE9-45BF-92B2-9E517F494F2C}">
      <dgm:prSet/>
      <dgm:spPr/>
      <dgm:t>
        <a:bodyPr/>
        <a:lstStyle/>
        <a:p>
          <a:r>
            <a:rPr lang="en-IE" dirty="0"/>
            <a:t>SIT and value stream transformation teams need to be able to rely on select individuals who have the ability to facilitate and lead a group of participants through an event. A Kaizen Facilitator should be an effective coordinator, coach, communicator, critical thinker, and change agent. </a:t>
          </a:r>
        </a:p>
      </dgm:t>
    </dgm:pt>
    <dgm:pt modelId="{DC770E49-1464-49E7-A99D-FC00AAFFE488}" type="parTrans" cxnId="{E34894C6-1510-4131-884D-06C0749C423C}">
      <dgm:prSet/>
      <dgm:spPr/>
      <dgm:t>
        <a:bodyPr/>
        <a:lstStyle/>
        <a:p>
          <a:endParaRPr lang="en-IE"/>
        </a:p>
      </dgm:t>
    </dgm:pt>
    <dgm:pt modelId="{C52882CA-0CCA-4961-B803-79E5EB53C4F1}" type="sibTrans" cxnId="{E34894C6-1510-4131-884D-06C0749C423C}">
      <dgm:prSet/>
      <dgm:spPr/>
      <dgm:t>
        <a:bodyPr/>
        <a:lstStyle/>
        <a:p>
          <a:endParaRPr lang="en-IE"/>
        </a:p>
      </dgm:t>
    </dgm:pt>
    <dgm:pt modelId="{DEE8897F-EB85-404A-8B82-54BA4BD8AFCA}">
      <dgm:prSet/>
      <dgm:spPr/>
      <dgm:t>
        <a:bodyPr/>
        <a:lstStyle/>
        <a:p>
          <a:r>
            <a:rPr lang="en-IE" dirty="0"/>
            <a:t>Recommended Training: TEOA Overview, Lean training</a:t>
          </a:r>
        </a:p>
      </dgm:t>
    </dgm:pt>
    <dgm:pt modelId="{1432639D-4644-481E-A754-C352036D8BCC}" type="parTrans" cxnId="{C865E8ED-6A78-4D23-9E36-B31F01DB6002}">
      <dgm:prSet/>
      <dgm:spPr/>
      <dgm:t>
        <a:bodyPr/>
        <a:lstStyle/>
        <a:p>
          <a:endParaRPr lang="en-IE"/>
        </a:p>
      </dgm:t>
    </dgm:pt>
    <dgm:pt modelId="{7A94609D-3A73-46FE-9BC3-82F5F966BDE7}" type="sibTrans" cxnId="{C865E8ED-6A78-4D23-9E36-B31F01DB6002}">
      <dgm:prSet/>
      <dgm:spPr/>
      <dgm:t>
        <a:bodyPr/>
        <a:lstStyle/>
        <a:p>
          <a:endParaRPr lang="en-IE"/>
        </a:p>
      </dgm:t>
    </dgm:pt>
    <dgm:pt modelId="{C2500825-D061-4756-B7BA-DC7A59AE73A9}">
      <dgm:prSet phldrT="[Text]"/>
      <dgm:spPr/>
      <dgm:t>
        <a:bodyPr/>
        <a:lstStyle/>
        <a:p>
          <a:r>
            <a:rPr lang="en-IE" dirty="0"/>
            <a:t>They serve a critical role in identifying improvement opportunities to achieve the desired future state and must help develop the skills of the other local change agents / champions throughout the implementation. </a:t>
          </a:r>
        </a:p>
      </dgm:t>
    </dgm:pt>
    <dgm:pt modelId="{9B8F8B4A-41B2-4FBE-92CE-88E7F71FE479}" type="parTrans" cxnId="{2FB2E422-0DC8-4F48-9000-DE76BAB89EDC}">
      <dgm:prSet/>
      <dgm:spPr/>
      <dgm:t>
        <a:bodyPr/>
        <a:lstStyle/>
        <a:p>
          <a:endParaRPr lang="en-IE"/>
        </a:p>
      </dgm:t>
    </dgm:pt>
    <dgm:pt modelId="{57C5FCA3-EEC7-45C9-992D-B14961B98840}" type="sibTrans" cxnId="{2FB2E422-0DC8-4F48-9000-DE76BAB89EDC}">
      <dgm:prSet/>
      <dgm:spPr/>
      <dgm:t>
        <a:bodyPr/>
        <a:lstStyle/>
        <a:p>
          <a:endParaRPr lang="en-IE"/>
        </a:p>
      </dgm:t>
    </dgm:pt>
    <dgm:pt modelId="{E984E6A0-5997-41B0-8E41-6B9FB0175F48}">
      <dgm:prSet phldrT="[Text]"/>
      <dgm:spPr/>
      <dgm:t>
        <a:bodyPr/>
        <a:lstStyle/>
        <a:p>
          <a:r>
            <a:rPr lang="en-IE" dirty="0"/>
            <a:t>The TEOA Practitioner should serve as the expert resource on the deployment and implementation of the TEOA principles. </a:t>
          </a:r>
        </a:p>
      </dgm:t>
    </dgm:pt>
    <dgm:pt modelId="{9CFE1ED0-E994-485F-9F7F-95C0DB269BAF}" type="parTrans" cxnId="{4BDEB8AA-F548-476A-A035-C61F3DFA2916}">
      <dgm:prSet/>
      <dgm:spPr/>
      <dgm:t>
        <a:bodyPr/>
        <a:lstStyle/>
        <a:p>
          <a:endParaRPr lang="en-IE"/>
        </a:p>
      </dgm:t>
    </dgm:pt>
    <dgm:pt modelId="{1CD69E0B-688E-4B99-A4D8-F71EE06939CC}" type="sibTrans" cxnId="{4BDEB8AA-F548-476A-A035-C61F3DFA2916}">
      <dgm:prSet/>
      <dgm:spPr/>
      <dgm:t>
        <a:bodyPr/>
        <a:lstStyle/>
        <a:p>
          <a:endParaRPr lang="en-IE"/>
        </a:p>
      </dgm:t>
    </dgm:pt>
    <dgm:pt modelId="{37C70CF0-841D-463E-8EC4-2CA6311B716E}">
      <dgm:prSet phldrT="[Text]"/>
      <dgm:spPr/>
      <dgm:t>
        <a:bodyPr/>
        <a:lstStyle/>
        <a:p>
          <a:r>
            <a:rPr lang="en-IE" dirty="0"/>
            <a:t>Practitioners should exhibit a progressive, change-focused track record in existing or previous roles.</a:t>
          </a:r>
        </a:p>
      </dgm:t>
    </dgm:pt>
    <dgm:pt modelId="{33DE537E-9052-4A38-A19D-C5696EA2EFE4}" type="parTrans" cxnId="{FFB22BB6-12F9-4AD2-A8B3-54D6DB137173}">
      <dgm:prSet/>
      <dgm:spPr/>
      <dgm:t>
        <a:bodyPr/>
        <a:lstStyle/>
        <a:p>
          <a:endParaRPr lang="en-IE"/>
        </a:p>
      </dgm:t>
    </dgm:pt>
    <dgm:pt modelId="{33C68820-EC92-43C9-B05E-215FBD10695D}" type="sibTrans" cxnId="{FFB22BB6-12F9-4AD2-A8B3-54D6DB137173}">
      <dgm:prSet/>
      <dgm:spPr/>
      <dgm:t>
        <a:bodyPr/>
        <a:lstStyle/>
        <a:p>
          <a:endParaRPr lang="en-IE"/>
        </a:p>
      </dgm:t>
    </dgm:pt>
    <dgm:pt modelId="{B4318713-610D-499E-A1A8-50B4E75F2095}">
      <dgm:prSet phldrT="[Text]"/>
      <dgm:spPr/>
      <dgm:t>
        <a:bodyPr/>
        <a:lstStyle/>
        <a:p>
          <a:r>
            <a:rPr lang="en-IE" dirty="0"/>
            <a:t> Recommended Training: TEOA Overview, Lean Foundations Basic Boot Camp, Quick Changeover Workshop, Lean Essentials Advanced Boot Camp, Creating Continuous Flow, Lead a Value Stream Transformation</a:t>
          </a:r>
        </a:p>
      </dgm:t>
    </dgm:pt>
    <dgm:pt modelId="{CECE7ED8-2315-4877-B142-6D664E81CA01}" type="parTrans" cxnId="{4411FD56-40E4-4AAE-BEDA-C44CEFE02D82}">
      <dgm:prSet/>
      <dgm:spPr/>
      <dgm:t>
        <a:bodyPr/>
        <a:lstStyle/>
        <a:p>
          <a:endParaRPr lang="en-IE"/>
        </a:p>
      </dgm:t>
    </dgm:pt>
    <dgm:pt modelId="{51957F64-3694-45AF-9862-0D48EDCEF436}" type="sibTrans" cxnId="{4411FD56-40E4-4AAE-BEDA-C44CEFE02D82}">
      <dgm:prSet/>
      <dgm:spPr/>
      <dgm:t>
        <a:bodyPr/>
        <a:lstStyle/>
        <a:p>
          <a:endParaRPr lang="en-IE"/>
        </a:p>
      </dgm:t>
    </dgm:pt>
    <dgm:pt modelId="{BC47ACCE-1633-4004-8107-D3E153F9BF8E}" type="pres">
      <dgm:prSet presAssocID="{96F1EAF5-2549-4D9F-B028-6477DF69FEAE}" presName="Name0" presStyleCnt="0">
        <dgm:presLayoutVars>
          <dgm:dir/>
          <dgm:animLvl val="lvl"/>
          <dgm:resizeHandles val="exact"/>
        </dgm:presLayoutVars>
      </dgm:prSet>
      <dgm:spPr/>
    </dgm:pt>
    <dgm:pt modelId="{03A33294-7527-43CF-9819-ABE54ED9A81A}" type="pres">
      <dgm:prSet presAssocID="{5C75482A-D04B-44B7-999E-4A7DC10681D1}" presName="composite" presStyleCnt="0"/>
      <dgm:spPr/>
    </dgm:pt>
    <dgm:pt modelId="{B94B91B1-6BB3-4844-9FD7-556553E747F2}" type="pres">
      <dgm:prSet presAssocID="{5C75482A-D04B-44B7-999E-4A7DC10681D1}" presName="parTx" presStyleLbl="alignNode1" presStyleIdx="0" presStyleCnt="3">
        <dgm:presLayoutVars>
          <dgm:chMax val="0"/>
          <dgm:chPref val="0"/>
          <dgm:bulletEnabled val="1"/>
        </dgm:presLayoutVars>
      </dgm:prSet>
      <dgm:spPr/>
    </dgm:pt>
    <dgm:pt modelId="{37173576-53B2-4FA4-8032-BAE92D78D477}" type="pres">
      <dgm:prSet presAssocID="{5C75482A-D04B-44B7-999E-4A7DC10681D1}" presName="desTx" presStyleLbl="alignAccFollowNode1" presStyleIdx="0" presStyleCnt="3">
        <dgm:presLayoutVars>
          <dgm:bulletEnabled val="1"/>
        </dgm:presLayoutVars>
      </dgm:prSet>
      <dgm:spPr/>
    </dgm:pt>
    <dgm:pt modelId="{0FA236F0-01ED-43B9-9A3D-C945B959D2DD}" type="pres">
      <dgm:prSet presAssocID="{6E9133F9-5133-48D3-9168-82E7EEA13DFE}" presName="space" presStyleCnt="0"/>
      <dgm:spPr/>
    </dgm:pt>
    <dgm:pt modelId="{A3E72669-E136-4898-8445-11E68C161D19}" type="pres">
      <dgm:prSet presAssocID="{79C8194A-02AE-46AD-B1CD-714ECB36EB8F}" presName="composite" presStyleCnt="0"/>
      <dgm:spPr/>
    </dgm:pt>
    <dgm:pt modelId="{7F5740A1-36B1-497C-A561-CAF7CE3F96AD}" type="pres">
      <dgm:prSet presAssocID="{79C8194A-02AE-46AD-B1CD-714ECB36EB8F}" presName="parTx" presStyleLbl="alignNode1" presStyleIdx="1" presStyleCnt="3">
        <dgm:presLayoutVars>
          <dgm:chMax val="0"/>
          <dgm:chPref val="0"/>
          <dgm:bulletEnabled val="1"/>
        </dgm:presLayoutVars>
      </dgm:prSet>
      <dgm:spPr/>
    </dgm:pt>
    <dgm:pt modelId="{72BE0F09-4F22-42BA-9E9B-9BA53108551B}" type="pres">
      <dgm:prSet presAssocID="{79C8194A-02AE-46AD-B1CD-714ECB36EB8F}" presName="desTx" presStyleLbl="alignAccFollowNode1" presStyleIdx="1" presStyleCnt="3">
        <dgm:presLayoutVars>
          <dgm:bulletEnabled val="1"/>
        </dgm:presLayoutVars>
      </dgm:prSet>
      <dgm:spPr/>
    </dgm:pt>
    <dgm:pt modelId="{8DB5F152-73C8-4CA3-8214-9DD2B894D052}" type="pres">
      <dgm:prSet presAssocID="{96D88BFE-7827-4005-8B7E-090113187FBA}" presName="space" presStyleCnt="0"/>
      <dgm:spPr/>
    </dgm:pt>
    <dgm:pt modelId="{3F332C6D-4141-49CD-A752-8E30C0126953}" type="pres">
      <dgm:prSet presAssocID="{8A467C23-F43F-4602-9CCC-AE32A7DEF2A2}" presName="composite" presStyleCnt="0"/>
      <dgm:spPr/>
    </dgm:pt>
    <dgm:pt modelId="{EE11A686-3657-4295-B88D-21B6237ADCF5}" type="pres">
      <dgm:prSet presAssocID="{8A467C23-F43F-4602-9CCC-AE32A7DEF2A2}" presName="parTx" presStyleLbl="alignNode1" presStyleIdx="2" presStyleCnt="3">
        <dgm:presLayoutVars>
          <dgm:chMax val="0"/>
          <dgm:chPref val="0"/>
          <dgm:bulletEnabled val="1"/>
        </dgm:presLayoutVars>
      </dgm:prSet>
      <dgm:spPr/>
    </dgm:pt>
    <dgm:pt modelId="{4DF20F6F-34D3-43C0-A7F8-6690F4ED55BF}" type="pres">
      <dgm:prSet presAssocID="{8A467C23-F43F-4602-9CCC-AE32A7DEF2A2}" presName="desTx" presStyleLbl="alignAccFollowNode1" presStyleIdx="2" presStyleCnt="3">
        <dgm:presLayoutVars>
          <dgm:bulletEnabled val="1"/>
        </dgm:presLayoutVars>
      </dgm:prSet>
      <dgm:spPr/>
    </dgm:pt>
  </dgm:ptLst>
  <dgm:cxnLst>
    <dgm:cxn modelId="{E4E7C202-0491-408C-BF42-CF6CF82B02FE}" type="presOf" srcId="{21A28C24-A89B-4DDF-9A5C-FCFA68789506}" destId="{4DF20F6F-34D3-43C0-A7F8-6690F4ED55BF}" srcOrd="0" destOrd="0" presId="urn:microsoft.com/office/officeart/2005/8/layout/hList1"/>
    <dgm:cxn modelId="{4AD97419-D1AF-44DC-A620-A750EAD29B8D}" type="presOf" srcId="{17884F93-2923-468A-988E-873EE5274D17}" destId="{72BE0F09-4F22-42BA-9E9B-9BA53108551B}" srcOrd="0" destOrd="0" presId="urn:microsoft.com/office/officeart/2005/8/layout/hList1"/>
    <dgm:cxn modelId="{2FB2E422-0DC8-4F48-9000-DE76BAB89EDC}" srcId="{8A467C23-F43F-4602-9CCC-AE32A7DEF2A2}" destId="{C2500825-D061-4756-B7BA-DC7A59AE73A9}" srcOrd="1" destOrd="0" parTransId="{9B8F8B4A-41B2-4FBE-92CE-88E7F71FE479}" sibTransId="{57C5FCA3-EEC7-45C9-992D-B14961B98840}"/>
    <dgm:cxn modelId="{D27B5D36-E49B-4510-B81A-D73F46A2BCA5}" type="presOf" srcId="{96F1EAF5-2549-4D9F-B028-6477DF69FEAE}" destId="{BC47ACCE-1633-4004-8107-D3E153F9BF8E}" srcOrd="0" destOrd="0" presId="urn:microsoft.com/office/officeart/2005/8/layout/hList1"/>
    <dgm:cxn modelId="{D575B541-4B86-4CAD-9E17-2D8190732E61}" type="presOf" srcId="{B4318713-610D-499E-A1A8-50B4E75F2095}" destId="{4DF20F6F-34D3-43C0-A7F8-6690F4ED55BF}" srcOrd="0" destOrd="4" presId="urn:microsoft.com/office/officeart/2005/8/layout/hList1"/>
    <dgm:cxn modelId="{A5CBCC63-ACA6-4B6D-92AF-662C0B05FAC3}" srcId="{96F1EAF5-2549-4D9F-B028-6477DF69FEAE}" destId="{8A467C23-F43F-4602-9CCC-AE32A7DEF2A2}" srcOrd="2" destOrd="0" parTransId="{3FDA9E2E-A5DD-4D01-82C7-15618ED30EA8}" sibTransId="{BE1F4BE2-4CB7-4DC9-A28D-244A37A67532}"/>
    <dgm:cxn modelId="{7D573064-6442-42CD-BC96-24243509D99E}" srcId="{79C8194A-02AE-46AD-B1CD-714ECB36EB8F}" destId="{F34FAE4C-379C-4024-96ED-A8EC3961312F}" srcOrd="1" destOrd="0" parTransId="{1CF6EF66-8907-4571-905E-872C189B7226}" sibTransId="{ABF865AC-DBC1-48CE-B34D-3AB5E926DEFE}"/>
    <dgm:cxn modelId="{2FDFDD65-1DD1-4F2E-9EFF-2DDFCFA2EDB2}" srcId="{5C75482A-D04B-44B7-999E-4A7DC10681D1}" destId="{C3435324-ABBD-4E8A-98B1-0863801CA40A}" srcOrd="1" destOrd="0" parTransId="{83117397-D960-4120-9F47-D14E0569ECFC}" sibTransId="{1AD9DD45-CE38-443F-AA20-883DE52FF9FA}"/>
    <dgm:cxn modelId="{763B5247-DEA2-4908-8891-805963E8E1B3}" type="presOf" srcId="{37C70CF0-841D-463E-8EC4-2CA6311B716E}" destId="{4DF20F6F-34D3-43C0-A7F8-6690F4ED55BF}" srcOrd="0" destOrd="3" presId="urn:microsoft.com/office/officeart/2005/8/layout/hList1"/>
    <dgm:cxn modelId="{6FF8886B-B229-4B9C-8612-0D0DD40ACEAC}" type="presOf" srcId="{C2500825-D061-4756-B7BA-DC7A59AE73A9}" destId="{4DF20F6F-34D3-43C0-A7F8-6690F4ED55BF}" srcOrd="0" destOrd="1" presId="urn:microsoft.com/office/officeart/2005/8/layout/hList1"/>
    <dgm:cxn modelId="{F8DF3F4E-BB0E-4EA1-B4F8-48DD75127453}" type="presOf" srcId="{E984E6A0-5997-41B0-8E41-6B9FB0175F48}" destId="{4DF20F6F-34D3-43C0-A7F8-6690F4ED55BF}" srcOrd="0" destOrd="2" presId="urn:microsoft.com/office/officeart/2005/8/layout/hList1"/>
    <dgm:cxn modelId="{4411FD56-40E4-4AAE-BEDA-C44CEFE02D82}" srcId="{8A467C23-F43F-4602-9CCC-AE32A7DEF2A2}" destId="{B4318713-610D-499E-A1A8-50B4E75F2095}" srcOrd="4" destOrd="0" parTransId="{CECE7ED8-2315-4877-B142-6D664E81CA01}" sibTransId="{51957F64-3694-45AF-9862-0D48EDCEF436}"/>
    <dgm:cxn modelId="{61E93A77-5C3C-4CA3-91C8-45C8C6B88613}" type="presOf" srcId="{4574A081-5095-46D1-BA03-918F7B5312ED}" destId="{37173576-53B2-4FA4-8032-BAE92D78D477}" srcOrd="0" destOrd="0" presId="urn:microsoft.com/office/officeart/2005/8/layout/hList1"/>
    <dgm:cxn modelId="{A4CFBF58-BB48-462B-9A42-ADD2E5A33903}" type="presOf" srcId="{C3435324-ABBD-4E8A-98B1-0863801CA40A}" destId="{37173576-53B2-4FA4-8032-BAE92D78D477}" srcOrd="0" destOrd="1" presId="urn:microsoft.com/office/officeart/2005/8/layout/hList1"/>
    <dgm:cxn modelId="{68D3E97A-DB0B-44C4-9B05-6941766BECDE}" type="presOf" srcId="{5C75482A-D04B-44B7-999E-4A7DC10681D1}" destId="{B94B91B1-6BB3-4844-9FD7-556553E747F2}" srcOrd="0" destOrd="0" presId="urn:microsoft.com/office/officeart/2005/8/layout/hList1"/>
    <dgm:cxn modelId="{8048907E-4911-475C-B3F0-E22C7B3D3479}" type="presOf" srcId="{F34FAE4C-379C-4024-96ED-A8EC3961312F}" destId="{72BE0F09-4F22-42BA-9E9B-9BA53108551B}" srcOrd="0" destOrd="1" presId="urn:microsoft.com/office/officeart/2005/8/layout/hList1"/>
    <dgm:cxn modelId="{A3881F93-F5CD-4463-9CDE-6BC59DDEDFF2}" type="presOf" srcId="{79C8194A-02AE-46AD-B1CD-714ECB36EB8F}" destId="{7F5740A1-36B1-497C-A561-CAF7CE3F96AD}" srcOrd="0" destOrd="0" presId="urn:microsoft.com/office/officeart/2005/8/layout/hList1"/>
    <dgm:cxn modelId="{3D2BE098-1165-446A-8F9D-2823EF393527}" type="presOf" srcId="{8A467C23-F43F-4602-9CCC-AE32A7DEF2A2}" destId="{EE11A686-3657-4295-B88D-21B6237ADCF5}" srcOrd="0" destOrd="0" presId="urn:microsoft.com/office/officeart/2005/8/layout/hList1"/>
    <dgm:cxn modelId="{3EE405A8-0B9B-42A3-B630-B167347D31C0}" type="presOf" srcId="{A7311489-1EE9-45BF-92B2-9E517F494F2C}" destId="{72BE0F09-4F22-42BA-9E9B-9BA53108551B}" srcOrd="0" destOrd="2" presId="urn:microsoft.com/office/officeart/2005/8/layout/hList1"/>
    <dgm:cxn modelId="{113C00AA-33FA-439C-BDDA-C3CFF4281451}" srcId="{5C75482A-D04B-44B7-999E-4A7DC10681D1}" destId="{43C186ED-4D0A-45D8-9D12-23A483DEA768}" srcOrd="2" destOrd="0" parTransId="{4504D303-510E-4C6C-9AD0-03617D3350E4}" sibTransId="{C3B9280A-13CD-4D03-B855-8734E1E71B5A}"/>
    <dgm:cxn modelId="{4BDEB8AA-F548-476A-A035-C61F3DFA2916}" srcId="{8A467C23-F43F-4602-9CCC-AE32A7DEF2A2}" destId="{E984E6A0-5997-41B0-8E41-6B9FB0175F48}" srcOrd="2" destOrd="0" parTransId="{9CFE1ED0-E994-485F-9F7F-95C0DB269BAF}" sibTransId="{1CD69E0B-688E-4B99-A4D8-F71EE06939CC}"/>
    <dgm:cxn modelId="{77988CB3-A9E7-4533-B121-1A28C5A689AA}" type="presOf" srcId="{DEE8897F-EB85-404A-8B82-54BA4BD8AFCA}" destId="{72BE0F09-4F22-42BA-9E9B-9BA53108551B}" srcOrd="0" destOrd="3" presId="urn:microsoft.com/office/officeart/2005/8/layout/hList1"/>
    <dgm:cxn modelId="{FFB22BB6-12F9-4AD2-A8B3-54D6DB137173}" srcId="{8A467C23-F43F-4602-9CCC-AE32A7DEF2A2}" destId="{37C70CF0-841D-463E-8EC4-2CA6311B716E}" srcOrd="3" destOrd="0" parTransId="{33DE537E-9052-4A38-A19D-C5696EA2EFE4}" sibTransId="{33C68820-EC92-43C9-B05E-215FBD10695D}"/>
    <dgm:cxn modelId="{ECF37DBA-8960-45E6-9927-89296A5DA76D}" srcId="{96F1EAF5-2549-4D9F-B028-6477DF69FEAE}" destId="{79C8194A-02AE-46AD-B1CD-714ECB36EB8F}" srcOrd="1" destOrd="0" parTransId="{DB40A771-6B64-42C5-98FB-7CD591FD9E92}" sibTransId="{96D88BFE-7827-4005-8B7E-090113187FBA}"/>
    <dgm:cxn modelId="{C83AB0C2-4A82-4C57-AB99-8BA02B3D8B61}" srcId="{8A467C23-F43F-4602-9CCC-AE32A7DEF2A2}" destId="{21A28C24-A89B-4DDF-9A5C-FCFA68789506}" srcOrd="0" destOrd="0" parTransId="{451C415B-F80A-4E18-AFAB-DCF7E5758A0D}" sibTransId="{5DD9292F-14C5-4FF9-AF73-DBDD92124389}"/>
    <dgm:cxn modelId="{E34894C6-1510-4131-884D-06C0749C423C}" srcId="{79C8194A-02AE-46AD-B1CD-714ECB36EB8F}" destId="{A7311489-1EE9-45BF-92B2-9E517F494F2C}" srcOrd="2" destOrd="0" parTransId="{DC770E49-1464-49E7-A99D-FC00AAFFE488}" sibTransId="{C52882CA-0CCA-4961-B803-79E5EB53C4F1}"/>
    <dgm:cxn modelId="{FDB073C8-84D5-4D7A-9783-09023D853BA5}" srcId="{79C8194A-02AE-46AD-B1CD-714ECB36EB8F}" destId="{17884F93-2923-468A-988E-873EE5274D17}" srcOrd="0" destOrd="0" parTransId="{9BFCF30C-69CF-4566-BE27-9B275AECD6A3}" sibTransId="{2F78210A-5AB7-4CC8-8770-579C50FAB853}"/>
    <dgm:cxn modelId="{C4E2DBD5-9D2B-4826-88E4-35C27200F335}" srcId="{5C75482A-D04B-44B7-999E-4A7DC10681D1}" destId="{4574A081-5095-46D1-BA03-918F7B5312ED}" srcOrd="0" destOrd="0" parTransId="{AAC567CB-0B4F-4F66-B2FB-194495CC329B}" sibTransId="{4B02331C-4D0C-4945-B04D-CAB502D5E434}"/>
    <dgm:cxn modelId="{C6D470E1-DF7C-4D43-A842-EEDD2D318E2D}" srcId="{96F1EAF5-2549-4D9F-B028-6477DF69FEAE}" destId="{5C75482A-D04B-44B7-999E-4A7DC10681D1}" srcOrd="0" destOrd="0" parTransId="{3FA233BC-879D-46FA-91FF-9A519BE1567C}" sibTransId="{6E9133F9-5133-48D3-9168-82E7EEA13DFE}"/>
    <dgm:cxn modelId="{C865E8ED-6A78-4D23-9E36-B31F01DB6002}" srcId="{79C8194A-02AE-46AD-B1CD-714ECB36EB8F}" destId="{DEE8897F-EB85-404A-8B82-54BA4BD8AFCA}" srcOrd="3" destOrd="0" parTransId="{1432639D-4644-481E-A754-C352036D8BCC}" sibTransId="{7A94609D-3A73-46FE-9BC3-82F5F966BDE7}"/>
    <dgm:cxn modelId="{C7F72BF7-7C52-4CD3-A1A2-54A0285811C9}" type="presOf" srcId="{43C186ED-4D0A-45D8-9D12-23A483DEA768}" destId="{37173576-53B2-4FA4-8032-BAE92D78D477}" srcOrd="0" destOrd="2" presId="urn:microsoft.com/office/officeart/2005/8/layout/hList1"/>
    <dgm:cxn modelId="{D2D59F93-EC80-41E0-B5FB-A47AF7703990}" type="presParOf" srcId="{BC47ACCE-1633-4004-8107-D3E153F9BF8E}" destId="{03A33294-7527-43CF-9819-ABE54ED9A81A}" srcOrd="0" destOrd="0" presId="urn:microsoft.com/office/officeart/2005/8/layout/hList1"/>
    <dgm:cxn modelId="{A2FCDC0A-668F-4D93-AB1A-E04DDA20163E}" type="presParOf" srcId="{03A33294-7527-43CF-9819-ABE54ED9A81A}" destId="{B94B91B1-6BB3-4844-9FD7-556553E747F2}" srcOrd="0" destOrd="0" presId="urn:microsoft.com/office/officeart/2005/8/layout/hList1"/>
    <dgm:cxn modelId="{1302AA09-D4AE-43AD-BE42-AEDE47C0C114}" type="presParOf" srcId="{03A33294-7527-43CF-9819-ABE54ED9A81A}" destId="{37173576-53B2-4FA4-8032-BAE92D78D477}" srcOrd="1" destOrd="0" presId="urn:microsoft.com/office/officeart/2005/8/layout/hList1"/>
    <dgm:cxn modelId="{AE11F7A7-12B1-4798-8FE8-AD3B5277327A}" type="presParOf" srcId="{BC47ACCE-1633-4004-8107-D3E153F9BF8E}" destId="{0FA236F0-01ED-43B9-9A3D-C945B959D2DD}" srcOrd="1" destOrd="0" presId="urn:microsoft.com/office/officeart/2005/8/layout/hList1"/>
    <dgm:cxn modelId="{AF66B3D1-29FE-4B8E-B9E8-EA148DF3D68B}" type="presParOf" srcId="{BC47ACCE-1633-4004-8107-D3E153F9BF8E}" destId="{A3E72669-E136-4898-8445-11E68C161D19}" srcOrd="2" destOrd="0" presId="urn:microsoft.com/office/officeart/2005/8/layout/hList1"/>
    <dgm:cxn modelId="{22E60FA9-6134-4461-9D1E-D121BBDF9DBD}" type="presParOf" srcId="{A3E72669-E136-4898-8445-11E68C161D19}" destId="{7F5740A1-36B1-497C-A561-CAF7CE3F96AD}" srcOrd="0" destOrd="0" presId="urn:microsoft.com/office/officeart/2005/8/layout/hList1"/>
    <dgm:cxn modelId="{C84B6071-5C4C-41B8-A84B-FE4675832F78}" type="presParOf" srcId="{A3E72669-E136-4898-8445-11E68C161D19}" destId="{72BE0F09-4F22-42BA-9E9B-9BA53108551B}" srcOrd="1" destOrd="0" presId="urn:microsoft.com/office/officeart/2005/8/layout/hList1"/>
    <dgm:cxn modelId="{9EFBC7F5-214B-4427-8CCB-16739495CD68}" type="presParOf" srcId="{BC47ACCE-1633-4004-8107-D3E153F9BF8E}" destId="{8DB5F152-73C8-4CA3-8214-9DD2B894D052}" srcOrd="3" destOrd="0" presId="urn:microsoft.com/office/officeart/2005/8/layout/hList1"/>
    <dgm:cxn modelId="{77479803-354A-495D-ADC2-DCC9CC3CF873}" type="presParOf" srcId="{BC47ACCE-1633-4004-8107-D3E153F9BF8E}" destId="{3F332C6D-4141-49CD-A752-8E30C0126953}" srcOrd="4" destOrd="0" presId="urn:microsoft.com/office/officeart/2005/8/layout/hList1"/>
    <dgm:cxn modelId="{7B13E9DE-1F0B-4815-BCDB-5D3C421123C0}" type="presParOf" srcId="{3F332C6D-4141-49CD-A752-8E30C0126953}" destId="{EE11A686-3657-4295-B88D-21B6237ADCF5}" srcOrd="0" destOrd="0" presId="urn:microsoft.com/office/officeart/2005/8/layout/hList1"/>
    <dgm:cxn modelId="{EF6B0CEF-BDBB-4BBC-9496-AFFFD8098606}" type="presParOf" srcId="{3F332C6D-4141-49CD-A752-8E30C0126953}" destId="{4DF20F6F-34D3-43C0-A7F8-6690F4ED55B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D63B02-DE90-425C-B4AE-B4DC82EC03B3}">
      <dsp:nvSpPr>
        <dsp:cNvPr id="0" name=""/>
        <dsp:cNvSpPr/>
      </dsp:nvSpPr>
      <dsp:spPr>
        <a:xfrm rot="2241229">
          <a:off x="1108012" y="7266"/>
          <a:ext cx="2467612" cy="2467612"/>
        </a:xfrm>
        <a:prstGeom prst="circularArrow">
          <a:avLst>
            <a:gd name="adj1" fmla="val 4668"/>
            <a:gd name="adj2" fmla="val 272909"/>
            <a:gd name="adj3" fmla="val 13376436"/>
            <a:gd name="adj4" fmla="val 17670986"/>
            <a:gd name="adj5" fmla="val 4847"/>
          </a:avLst>
        </a:prstGeom>
        <a:solidFill>
          <a:schemeClr val="bg2"/>
        </a:solidFill>
        <a:ln w="127000" cap="flat">
          <a:solidFill>
            <a:schemeClr val="bg2"/>
          </a:solidFill>
          <a:miter lim="800000"/>
        </a:ln>
        <a:effectLst/>
      </dsp:spPr>
      <dsp:style>
        <a:lnRef idx="0">
          <a:scrgbClr r="0" g="0" b="0"/>
        </a:lnRef>
        <a:fillRef idx="1">
          <a:scrgbClr r="0" g="0" b="0"/>
        </a:fillRef>
        <a:effectRef idx="0">
          <a:scrgbClr r="0" g="0" b="0"/>
        </a:effectRef>
        <a:fontRef idx="minor"/>
      </dsp:style>
    </dsp:sp>
    <dsp:sp modelId="{9267CEE5-C8DF-40AB-8AC1-17BE85DB47F1}">
      <dsp:nvSpPr>
        <dsp:cNvPr id="0" name=""/>
        <dsp:cNvSpPr/>
      </dsp:nvSpPr>
      <dsp:spPr>
        <a:xfrm>
          <a:off x="2636897" y="354840"/>
          <a:ext cx="1402488" cy="4401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600" b="1" u="none" kern="1200" dirty="0">
              <a:solidFill>
                <a:schemeClr val="tx1"/>
              </a:solidFill>
              <a:latin typeface="Arial"/>
              <a:ea typeface="+mn-ea"/>
              <a:cs typeface="+mn-cs"/>
            </a:rPr>
            <a:t>Prepare</a:t>
          </a:r>
          <a:r>
            <a:rPr lang="en-GB" sz="1600" b="1" kern="1200" dirty="0">
              <a:latin typeface="Arial"/>
              <a:ea typeface="+mn-ea"/>
              <a:cs typeface="+mn-cs"/>
            </a:rPr>
            <a:t> </a:t>
          </a:r>
        </a:p>
        <a:p>
          <a:pPr marL="0" lvl="0" indent="0" algn="ctr" defTabSz="533400">
            <a:lnSpc>
              <a:spcPct val="90000"/>
            </a:lnSpc>
            <a:spcBef>
              <a:spcPct val="0"/>
            </a:spcBef>
            <a:spcAft>
              <a:spcPct val="35000"/>
            </a:spcAft>
            <a:buNone/>
          </a:pPr>
          <a:r>
            <a:rPr lang="en-GB" sz="900" kern="1200" dirty="0">
              <a:latin typeface="Arial"/>
              <a:ea typeface="+mn-ea"/>
              <a:cs typeface="+mn-cs"/>
            </a:rPr>
            <a:t>Strategy Alignment </a:t>
          </a:r>
        </a:p>
      </dsp:txBody>
      <dsp:txXfrm>
        <a:off x="2658382" y="376325"/>
        <a:ext cx="1359518" cy="397152"/>
      </dsp:txXfrm>
    </dsp:sp>
    <dsp:sp modelId="{DC37BA66-E214-4432-A333-034D760190D1}">
      <dsp:nvSpPr>
        <dsp:cNvPr id="0" name=""/>
        <dsp:cNvSpPr/>
      </dsp:nvSpPr>
      <dsp:spPr>
        <a:xfrm>
          <a:off x="2590905" y="1861732"/>
          <a:ext cx="1455222" cy="43291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rPr>
            <a:t>Diagnose &amp; Design</a:t>
          </a:r>
        </a:p>
        <a:p>
          <a:pPr marL="0" lvl="0" indent="0" algn="ctr" defTabSz="488950">
            <a:lnSpc>
              <a:spcPct val="90000"/>
            </a:lnSpc>
            <a:spcBef>
              <a:spcPct val="0"/>
            </a:spcBef>
            <a:spcAft>
              <a:spcPct val="35000"/>
            </a:spcAft>
            <a:buNone/>
          </a:pPr>
          <a:r>
            <a:rPr lang="en-GB" sz="900" kern="1200" dirty="0"/>
            <a:t>Define Value &amp; Design Future State </a:t>
          </a:r>
        </a:p>
      </dsp:txBody>
      <dsp:txXfrm>
        <a:off x="2612038" y="1882865"/>
        <a:ext cx="1412956" cy="390644"/>
      </dsp:txXfrm>
    </dsp:sp>
    <dsp:sp modelId="{E7B5F725-DE40-4E98-9364-C5E8F362E93D}">
      <dsp:nvSpPr>
        <dsp:cNvPr id="0" name=""/>
        <dsp:cNvSpPr/>
      </dsp:nvSpPr>
      <dsp:spPr>
        <a:xfrm>
          <a:off x="751191" y="1864516"/>
          <a:ext cx="1226653" cy="427326"/>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chemeClr val="tx1"/>
              </a:solidFill>
              <a:latin typeface="Arial"/>
              <a:ea typeface="+mn-ea"/>
              <a:cs typeface="+mn-cs"/>
            </a:rPr>
            <a:t>Implement</a:t>
          </a:r>
        </a:p>
        <a:p>
          <a:pPr marL="0" lvl="0" indent="0" algn="ctr" defTabSz="711200">
            <a:lnSpc>
              <a:spcPct val="90000"/>
            </a:lnSpc>
            <a:spcBef>
              <a:spcPct val="0"/>
            </a:spcBef>
            <a:spcAft>
              <a:spcPct val="35000"/>
            </a:spcAft>
            <a:buNone/>
          </a:pPr>
          <a:r>
            <a:rPr lang="en-GB" sz="900" kern="1200" dirty="0">
              <a:latin typeface="Arial"/>
              <a:ea typeface="+mn-ea"/>
              <a:cs typeface="+mn-cs"/>
            </a:rPr>
            <a:t>Create Flow &amp; Pull</a:t>
          </a:r>
        </a:p>
      </dsp:txBody>
      <dsp:txXfrm>
        <a:off x="772051" y="1885376"/>
        <a:ext cx="1184933" cy="385606"/>
      </dsp:txXfrm>
    </dsp:sp>
    <dsp:sp modelId="{99B3B84C-A434-40CF-B321-DE6AA283672E}">
      <dsp:nvSpPr>
        <dsp:cNvPr id="0" name=""/>
        <dsp:cNvSpPr/>
      </dsp:nvSpPr>
      <dsp:spPr>
        <a:xfrm>
          <a:off x="781544" y="361662"/>
          <a:ext cx="1227286" cy="42236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600" b="1" kern="1200" dirty="0">
              <a:solidFill>
                <a:schemeClr val="tx1"/>
              </a:solidFill>
              <a:latin typeface="Arial"/>
              <a:ea typeface="+mn-ea"/>
              <a:cs typeface="+mn-cs"/>
            </a:rPr>
            <a:t>Sustain</a:t>
          </a:r>
        </a:p>
        <a:p>
          <a:pPr marL="0" lvl="0" indent="0" algn="ctr" defTabSz="533400">
            <a:lnSpc>
              <a:spcPct val="90000"/>
            </a:lnSpc>
            <a:spcBef>
              <a:spcPct val="0"/>
            </a:spcBef>
            <a:spcAft>
              <a:spcPct val="35000"/>
            </a:spcAft>
            <a:buNone/>
          </a:pPr>
          <a:r>
            <a:rPr lang="en-GB" sz="900" kern="1200" dirty="0">
              <a:latin typeface="Arial"/>
              <a:ea typeface="+mn-ea"/>
              <a:cs typeface="+mn-cs"/>
            </a:rPr>
            <a:t>Pursue Perfection</a:t>
          </a:r>
          <a:endParaRPr lang="en-GB" sz="1800" kern="1200" dirty="0">
            <a:latin typeface="Arial"/>
            <a:ea typeface="+mn-ea"/>
            <a:cs typeface="+mn-cs"/>
          </a:endParaRPr>
        </a:p>
      </dsp:txBody>
      <dsp:txXfrm>
        <a:off x="802162" y="382280"/>
        <a:ext cx="1186050" cy="3811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BED6F5-EB3C-4C09-A486-F7E85C78C698}">
      <dsp:nvSpPr>
        <dsp:cNvPr id="0" name=""/>
        <dsp:cNvSpPr/>
      </dsp:nvSpPr>
      <dsp:spPr>
        <a:xfrm>
          <a:off x="4187" y="178303"/>
          <a:ext cx="2517848" cy="58663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IE" sz="1700" kern="1200" dirty="0"/>
            <a:t>Program Management Activities:</a:t>
          </a:r>
        </a:p>
      </dsp:txBody>
      <dsp:txXfrm>
        <a:off x="4187" y="178303"/>
        <a:ext cx="2517848" cy="586638"/>
      </dsp:txXfrm>
    </dsp:sp>
    <dsp:sp modelId="{19E06B1F-2751-4E3B-87DF-B13BCDAE939E}">
      <dsp:nvSpPr>
        <dsp:cNvPr id="0" name=""/>
        <dsp:cNvSpPr/>
      </dsp:nvSpPr>
      <dsp:spPr>
        <a:xfrm>
          <a:off x="4187" y="764941"/>
          <a:ext cx="2517848" cy="348820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IE" sz="1700" kern="1200" dirty="0"/>
            <a:t>Hold kick-off meeting</a:t>
          </a:r>
        </a:p>
        <a:p>
          <a:pPr marL="171450" lvl="1" indent="-171450" algn="l" defTabSz="755650">
            <a:lnSpc>
              <a:spcPct val="90000"/>
            </a:lnSpc>
            <a:spcBef>
              <a:spcPct val="0"/>
            </a:spcBef>
            <a:spcAft>
              <a:spcPct val="15000"/>
            </a:spcAft>
            <a:buChar char="•"/>
          </a:pPr>
          <a:r>
            <a:rPr lang="en-IE" sz="1700" kern="1200" dirty="0"/>
            <a:t>Identify key site participants</a:t>
          </a:r>
        </a:p>
        <a:p>
          <a:pPr marL="171450" lvl="1" indent="-171450" algn="l" defTabSz="755650">
            <a:lnSpc>
              <a:spcPct val="90000"/>
            </a:lnSpc>
            <a:spcBef>
              <a:spcPct val="0"/>
            </a:spcBef>
            <a:spcAft>
              <a:spcPct val="15000"/>
            </a:spcAft>
            <a:buChar char="•"/>
          </a:pPr>
          <a:r>
            <a:rPr lang="en-IE" sz="1700" kern="1200" dirty="0"/>
            <a:t>Establish Site Integration Team structure</a:t>
          </a:r>
        </a:p>
        <a:p>
          <a:pPr marL="171450" lvl="1" indent="-171450" algn="l" defTabSz="755650">
            <a:lnSpc>
              <a:spcPct val="90000"/>
            </a:lnSpc>
            <a:spcBef>
              <a:spcPct val="0"/>
            </a:spcBef>
            <a:spcAft>
              <a:spcPct val="15000"/>
            </a:spcAft>
            <a:buChar char="•"/>
          </a:pPr>
          <a:r>
            <a:rPr lang="en-IE" sz="1700" kern="1200" dirty="0"/>
            <a:t>Develop </a:t>
          </a:r>
          <a:r>
            <a:rPr lang="en-IE" sz="1700" b="1" kern="1200" dirty="0"/>
            <a:t>Guiding Principles</a:t>
          </a:r>
        </a:p>
      </dsp:txBody>
      <dsp:txXfrm>
        <a:off x="4187" y="764941"/>
        <a:ext cx="2517848" cy="3488208"/>
      </dsp:txXfrm>
    </dsp:sp>
    <dsp:sp modelId="{1964FF85-FAC9-495E-AAD6-1F0291A76973}">
      <dsp:nvSpPr>
        <dsp:cNvPr id="0" name=""/>
        <dsp:cNvSpPr/>
      </dsp:nvSpPr>
      <dsp:spPr>
        <a:xfrm>
          <a:off x="2874535" y="178303"/>
          <a:ext cx="2517848" cy="58663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IE" sz="1700" kern="1200" dirty="0"/>
            <a:t>Training Activities</a:t>
          </a:r>
        </a:p>
      </dsp:txBody>
      <dsp:txXfrm>
        <a:off x="2874535" y="178303"/>
        <a:ext cx="2517848" cy="586638"/>
      </dsp:txXfrm>
    </dsp:sp>
    <dsp:sp modelId="{C4FA218B-70B0-4B76-92B2-76EE3F4E3274}">
      <dsp:nvSpPr>
        <dsp:cNvPr id="0" name=""/>
        <dsp:cNvSpPr/>
      </dsp:nvSpPr>
      <dsp:spPr>
        <a:xfrm>
          <a:off x="2874535" y="764941"/>
          <a:ext cx="2517848" cy="348820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IE" sz="1700" kern="1200" dirty="0"/>
            <a:t>Reference available Playbooks &amp; training and ensure key participants from the SIT team attend as necessary: </a:t>
          </a:r>
          <a:r>
            <a:rPr lang="en-IE" sz="1700" kern="1200" dirty="0">
              <a:hlinkClick xmlns:r="http://schemas.openxmlformats.org/officeDocument/2006/relationships" r:id="rId1"/>
            </a:rPr>
            <a:t>TEOA ACADEMY</a:t>
          </a:r>
          <a:endParaRPr lang="en-IE" sz="1700" kern="1200" dirty="0"/>
        </a:p>
      </dsp:txBody>
      <dsp:txXfrm>
        <a:off x="2874535" y="764941"/>
        <a:ext cx="2517848" cy="3488208"/>
      </dsp:txXfrm>
    </dsp:sp>
    <dsp:sp modelId="{41B42664-6618-486C-84E5-3F48973C6021}">
      <dsp:nvSpPr>
        <dsp:cNvPr id="0" name=""/>
        <dsp:cNvSpPr/>
      </dsp:nvSpPr>
      <dsp:spPr>
        <a:xfrm>
          <a:off x="5744882" y="178303"/>
          <a:ext cx="2517848" cy="58663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IE" sz="1700" kern="1200" dirty="0"/>
            <a:t>Preparation Activities</a:t>
          </a:r>
        </a:p>
      </dsp:txBody>
      <dsp:txXfrm>
        <a:off x="5744882" y="178303"/>
        <a:ext cx="2517848" cy="586638"/>
      </dsp:txXfrm>
    </dsp:sp>
    <dsp:sp modelId="{F151E1D8-CB2C-4529-9938-92DDC158E374}">
      <dsp:nvSpPr>
        <dsp:cNvPr id="0" name=""/>
        <dsp:cNvSpPr/>
      </dsp:nvSpPr>
      <dsp:spPr>
        <a:xfrm>
          <a:off x="5744882" y="764941"/>
          <a:ext cx="2517848" cy="348820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IE" sz="1700" kern="1200" dirty="0"/>
            <a:t>Establish baseline foundations at the site level. </a:t>
          </a:r>
        </a:p>
        <a:p>
          <a:pPr marL="171450" lvl="1" indent="-171450" algn="l" defTabSz="755650">
            <a:lnSpc>
              <a:spcPct val="90000"/>
            </a:lnSpc>
            <a:spcBef>
              <a:spcPct val="0"/>
            </a:spcBef>
            <a:spcAft>
              <a:spcPct val="15000"/>
            </a:spcAft>
            <a:buChar char="•"/>
          </a:pPr>
          <a:r>
            <a:rPr lang="en-IE" sz="1700" kern="1200" dirty="0"/>
            <a:t>Conduct awareness training and specific Fundamental tool trainings for all key site personnel.</a:t>
          </a:r>
        </a:p>
      </dsp:txBody>
      <dsp:txXfrm>
        <a:off x="5744882" y="764941"/>
        <a:ext cx="2517848" cy="3488208"/>
      </dsp:txXfrm>
    </dsp:sp>
    <dsp:sp modelId="{BFD9C967-81AA-4388-86B0-93EB26159C0C}">
      <dsp:nvSpPr>
        <dsp:cNvPr id="0" name=""/>
        <dsp:cNvSpPr/>
      </dsp:nvSpPr>
      <dsp:spPr>
        <a:xfrm>
          <a:off x="8615230" y="178303"/>
          <a:ext cx="2517848" cy="58663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IE" sz="1700" kern="1200" dirty="0"/>
            <a:t>Goals</a:t>
          </a:r>
        </a:p>
      </dsp:txBody>
      <dsp:txXfrm>
        <a:off x="8615230" y="178303"/>
        <a:ext cx="2517848" cy="586638"/>
      </dsp:txXfrm>
    </dsp:sp>
    <dsp:sp modelId="{EEF5D298-4837-43F0-A5B7-B80D06448E12}">
      <dsp:nvSpPr>
        <dsp:cNvPr id="0" name=""/>
        <dsp:cNvSpPr/>
      </dsp:nvSpPr>
      <dsp:spPr>
        <a:xfrm>
          <a:off x="8615230" y="764941"/>
          <a:ext cx="2517848" cy="348820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IE" sz="1700" kern="1200" dirty="0"/>
            <a:t>Generate TEOA awareness within the site</a:t>
          </a:r>
        </a:p>
        <a:p>
          <a:pPr marL="171450" lvl="1" indent="-171450" algn="l" defTabSz="755650">
            <a:lnSpc>
              <a:spcPct val="90000"/>
            </a:lnSpc>
            <a:spcBef>
              <a:spcPct val="0"/>
            </a:spcBef>
            <a:spcAft>
              <a:spcPct val="15000"/>
            </a:spcAft>
            <a:buChar char="•"/>
          </a:pPr>
          <a:r>
            <a:rPr lang="en-IE" sz="1700" kern="1200" dirty="0"/>
            <a:t>Identify key site participants and establish SIT structure.</a:t>
          </a:r>
        </a:p>
        <a:p>
          <a:pPr marL="171450" lvl="1" indent="-171450" algn="l" defTabSz="755650">
            <a:lnSpc>
              <a:spcPct val="90000"/>
            </a:lnSpc>
            <a:spcBef>
              <a:spcPct val="0"/>
            </a:spcBef>
            <a:spcAft>
              <a:spcPct val="15000"/>
            </a:spcAft>
            <a:buChar char="•"/>
          </a:pPr>
          <a:r>
            <a:rPr lang="en-IE" sz="1700" kern="1200" dirty="0"/>
            <a:t>Establish </a:t>
          </a:r>
          <a:r>
            <a:rPr lang="en-IE" sz="1700" b="1" kern="1200" dirty="0"/>
            <a:t>Guiding Principles </a:t>
          </a:r>
          <a:r>
            <a:rPr lang="en-IE" sz="1700" kern="1200" dirty="0"/>
            <a:t>as a team to serve as the common objectives and true north for the site’s TEOA deployment.</a:t>
          </a:r>
        </a:p>
      </dsp:txBody>
      <dsp:txXfrm>
        <a:off x="8615230" y="764941"/>
        <a:ext cx="2517848" cy="34882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1F7644-4504-4DA8-8773-B3651F8D2295}">
      <dsp:nvSpPr>
        <dsp:cNvPr id="0" name=""/>
        <dsp:cNvSpPr/>
      </dsp:nvSpPr>
      <dsp:spPr>
        <a:xfrm>
          <a:off x="5561" y="23406"/>
          <a:ext cx="2131765"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Font typeface="Arial" panose="020B0604020202020204" pitchFamily="34" charset="0"/>
            <a:buNone/>
          </a:pPr>
          <a:r>
            <a:rPr lang="en-IE" sz="110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Environmental Health &amp; Safety (EH&amp;S)</a:t>
          </a:r>
          <a:endParaRPr lang="en-IE" sz="1100" kern="1200" dirty="0">
            <a:solidFill>
              <a:schemeClr val="bg1"/>
            </a:solidFill>
          </a:endParaRPr>
        </a:p>
      </dsp:txBody>
      <dsp:txXfrm>
        <a:off x="5561" y="23406"/>
        <a:ext cx="2131765" cy="460800"/>
      </dsp:txXfrm>
    </dsp:sp>
    <dsp:sp modelId="{8E6DEA0A-3811-4A54-ABC6-BD30E358F81C}">
      <dsp:nvSpPr>
        <dsp:cNvPr id="0" name=""/>
        <dsp:cNvSpPr/>
      </dsp:nvSpPr>
      <dsp:spPr>
        <a:xfrm>
          <a:off x="5561" y="484206"/>
          <a:ext cx="2131765" cy="4389255"/>
        </a:xfrm>
        <a:prstGeom prst="rect">
          <a:avLst/>
        </a:prstGeom>
        <a:solidFill>
          <a:srgbClr val="E98300">
            <a:alpha val="90000"/>
            <a:tint val="40000"/>
            <a:hueOff val="0"/>
            <a:satOff val="0"/>
            <a:lumOff val="0"/>
            <a:alphaOff val="0"/>
          </a:srgbClr>
        </a:solidFill>
        <a:ln w="12700" cap="flat" cmpd="sng" algn="ctr">
          <a:solidFill>
            <a:srgbClr val="E98300">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b="1" kern="1200" dirty="0"/>
            <a:t>EH&amp;S </a:t>
          </a:r>
          <a:r>
            <a:rPr lang="en-GB" sz="1200" kern="1200" dirty="0"/>
            <a:t>The EH&amp;S playbook describes how TE sites are expected to manage EH&amp;S and the </a:t>
          </a:r>
          <a:r>
            <a:rPr lang="en-GB" sz="1200" dirty="0"/>
            <a:t>components of the EH&amp;S program. </a:t>
          </a:r>
          <a:endParaRPr lang="en-IE" sz="1200" i="1" kern="1200" dirty="0">
            <a:solidFill>
              <a:schemeClr val="tx1"/>
            </a:solidFill>
            <a:latin typeface="Arial"/>
            <a:ea typeface="Arial"/>
            <a:cs typeface="Arial"/>
          </a:endParaRPr>
        </a:p>
        <a:p>
          <a:pPr marL="114300" lvl="1" indent="-114300" algn="l" defTabSz="533400">
            <a:lnSpc>
              <a:spcPct val="90000"/>
            </a:lnSpc>
            <a:spcBef>
              <a:spcPct val="0"/>
            </a:spcBef>
            <a:spcAft>
              <a:spcPct val="15000"/>
            </a:spcAft>
            <a:buChar char="•"/>
          </a:pPr>
          <a:endParaRPr lang="en-IE" sz="1200" i="1" kern="1200" dirty="0">
            <a:solidFill>
              <a:schemeClr val="tx1"/>
            </a:solidFill>
            <a:latin typeface="Arial"/>
            <a:ea typeface="Arial"/>
            <a:cs typeface="Arial"/>
          </a:endParaRPr>
        </a:p>
        <a:p>
          <a:pPr marL="114300" lvl="1" indent="-114300" algn="l" defTabSz="533400">
            <a:lnSpc>
              <a:spcPct val="90000"/>
            </a:lnSpc>
            <a:spcBef>
              <a:spcPct val="0"/>
            </a:spcBef>
            <a:spcAft>
              <a:spcPct val="15000"/>
            </a:spcAft>
            <a:buChar char="•"/>
          </a:pPr>
          <a:r>
            <a:rPr lang="en-GB" sz="1200" dirty="0"/>
            <a:t>It covers roles and responsibilities, data reporting, our EH&amp;S programs, resource references, communication tools and training.</a:t>
          </a:r>
          <a:endParaRPr lang="en-IE" sz="1200" i="1" kern="1200" dirty="0">
            <a:solidFill>
              <a:schemeClr val="tx1"/>
            </a:solidFill>
            <a:latin typeface="Arial"/>
            <a:ea typeface="Arial"/>
            <a:cs typeface="Arial"/>
          </a:endParaRPr>
        </a:p>
        <a:p>
          <a:pPr marL="114300" lvl="1" indent="-114300" algn="l" defTabSz="533400">
            <a:lnSpc>
              <a:spcPct val="90000"/>
            </a:lnSpc>
            <a:spcBef>
              <a:spcPct val="0"/>
            </a:spcBef>
            <a:spcAft>
              <a:spcPct val="15000"/>
            </a:spcAft>
            <a:buChar char="•"/>
          </a:pPr>
          <a:endParaRPr lang="en-IE" sz="1200" i="1" kern="1200" dirty="0">
            <a:solidFill>
              <a:schemeClr val="tx1"/>
            </a:solidFill>
            <a:latin typeface="Arial"/>
            <a:ea typeface="Arial"/>
            <a:cs typeface="Arial"/>
          </a:endParaRPr>
        </a:p>
        <a:p>
          <a:pPr marL="114300" lvl="1" indent="-114300" algn="l" defTabSz="533400">
            <a:lnSpc>
              <a:spcPct val="90000"/>
            </a:lnSpc>
            <a:spcBef>
              <a:spcPct val="0"/>
            </a:spcBef>
            <a:spcAft>
              <a:spcPct val="15000"/>
            </a:spcAft>
            <a:buChar char="•"/>
          </a:pPr>
          <a:r>
            <a:rPr lang="en-US" sz="1200" kern="1200" dirty="0">
              <a:solidFill>
                <a:schemeClr val="tx1"/>
              </a:solidFill>
            </a:rPr>
            <a:t>There are three main elements to the </a:t>
          </a:r>
          <a:r>
            <a:rPr lang="en-US" sz="1200" i="1" kern="1200" dirty="0">
              <a:solidFill>
                <a:schemeClr val="tx1"/>
              </a:solidFill>
              <a:latin typeface="Arial"/>
              <a:ea typeface="Arial"/>
              <a:cs typeface="Arial"/>
            </a:rPr>
            <a:t>EH&amp;S Program:</a:t>
          </a:r>
          <a:endParaRPr lang="en-IE" sz="1200" i="1" kern="1200" dirty="0">
            <a:solidFill>
              <a:schemeClr val="tx1"/>
            </a:solidFill>
            <a:latin typeface="Arial"/>
            <a:ea typeface="Arial"/>
            <a:cs typeface="Arial"/>
          </a:endParaRPr>
        </a:p>
        <a:p>
          <a:pPr marL="114300" lvl="1" indent="-114300" algn="l" defTabSz="533400">
            <a:lnSpc>
              <a:spcPct val="90000"/>
            </a:lnSpc>
            <a:spcBef>
              <a:spcPct val="0"/>
            </a:spcBef>
            <a:spcAft>
              <a:spcPct val="15000"/>
            </a:spcAft>
            <a:buChar char="•"/>
          </a:pPr>
          <a:r>
            <a:rPr lang="en-US" sz="1200" i="1" kern="1200" dirty="0">
              <a:solidFill>
                <a:schemeClr val="tx1"/>
              </a:solidFill>
              <a:latin typeface="Arial"/>
              <a:ea typeface="Arial"/>
              <a:cs typeface="Arial"/>
              <a:hlinkClick xmlns:r="http://schemas.openxmlformats.org/officeDocument/2006/relationships" r:id="" action="ppaction://hlinksldjump">
                <a:extLst>
                  <a:ext uri="{A12FA001-AC4F-418D-AE19-62706E023703}">
                    <ahyp:hlinkClr xmlns:ahyp="http://schemas.microsoft.com/office/drawing/2018/hyperlinkcolor" val="tx"/>
                  </a:ext>
                </a:extLst>
              </a:hlinkClick>
            </a:rPr>
            <a:t>Safety</a:t>
          </a:r>
          <a:endParaRPr lang="en-US" sz="1200" i="1" kern="1200" dirty="0">
            <a:solidFill>
              <a:schemeClr val="tx1"/>
            </a:solidFill>
            <a:latin typeface="Arial"/>
            <a:ea typeface="Arial"/>
            <a:cs typeface="Arial"/>
          </a:endParaRPr>
        </a:p>
        <a:p>
          <a:pPr marL="114300" lvl="1" indent="-114300" algn="l" defTabSz="533400">
            <a:lnSpc>
              <a:spcPct val="90000"/>
            </a:lnSpc>
            <a:spcBef>
              <a:spcPct val="0"/>
            </a:spcBef>
            <a:spcAft>
              <a:spcPct val="15000"/>
            </a:spcAft>
            <a:buChar char="•"/>
          </a:pPr>
          <a:r>
            <a:rPr lang="en-US" sz="1200" i="1" kern="1200" dirty="0">
              <a:solidFill>
                <a:schemeClr val="tx1"/>
              </a:solidFill>
              <a:latin typeface="Arial"/>
              <a:ea typeface="Arial"/>
              <a:cs typeface="Arial"/>
              <a:hlinkClick xmlns:r="http://schemas.openxmlformats.org/officeDocument/2006/relationships" r:id="" action="ppaction://hlinksldjump">
                <a:extLst>
                  <a:ext uri="{A12FA001-AC4F-418D-AE19-62706E023703}">
                    <ahyp:hlinkClr xmlns:ahyp="http://schemas.microsoft.com/office/drawing/2018/hyperlinkcolor" val="tx"/>
                  </a:ext>
                </a:extLst>
              </a:hlinkClick>
            </a:rPr>
            <a:t>Environmental compliance</a:t>
          </a:r>
          <a:endParaRPr lang="en-US" sz="1200" i="1" kern="1200" dirty="0">
            <a:solidFill>
              <a:schemeClr val="tx1"/>
            </a:solidFill>
            <a:latin typeface="Arial"/>
            <a:ea typeface="Arial"/>
            <a:cs typeface="Arial"/>
          </a:endParaRPr>
        </a:p>
        <a:p>
          <a:pPr marL="114300" lvl="1" indent="-114300" algn="l" defTabSz="533400">
            <a:lnSpc>
              <a:spcPct val="90000"/>
            </a:lnSpc>
            <a:spcBef>
              <a:spcPct val="0"/>
            </a:spcBef>
            <a:spcAft>
              <a:spcPct val="15000"/>
            </a:spcAft>
            <a:buChar char="•"/>
          </a:pPr>
          <a:r>
            <a:rPr lang="en-US" sz="1200" i="1" kern="1200" dirty="0">
              <a:solidFill>
                <a:schemeClr val="tx1"/>
              </a:solidFill>
              <a:latin typeface="Arial"/>
              <a:ea typeface="Arial"/>
              <a:cs typeface="Arial"/>
              <a:hlinkClick xmlns:r="http://schemas.openxmlformats.org/officeDocument/2006/relationships" r:id="" action="ppaction://hlinksldjump">
                <a:extLst>
                  <a:ext uri="{A12FA001-AC4F-418D-AE19-62706E023703}">
                    <ahyp:hlinkClr xmlns:ahyp="http://schemas.microsoft.com/office/drawing/2018/hyperlinkcolor" val="tx"/>
                  </a:ext>
                </a:extLst>
              </a:hlinkClick>
            </a:rPr>
            <a:t>Sustainability</a:t>
          </a:r>
          <a:endParaRPr lang="en-US" sz="1200" i="1" kern="1200" dirty="0">
            <a:solidFill>
              <a:schemeClr val="tx1"/>
            </a:solidFill>
            <a:latin typeface="Arial"/>
            <a:ea typeface="Arial"/>
            <a:cs typeface="Arial"/>
          </a:endParaRPr>
        </a:p>
      </dsp:txBody>
      <dsp:txXfrm>
        <a:off x="5561" y="484206"/>
        <a:ext cx="2131765" cy="4389255"/>
      </dsp:txXfrm>
    </dsp:sp>
    <dsp:sp modelId="{5F1828A2-ADAC-4622-919B-ED4493548C5B}">
      <dsp:nvSpPr>
        <dsp:cNvPr id="0" name=""/>
        <dsp:cNvSpPr/>
      </dsp:nvSpPr>
      <dsp:spPr>
        <a:xfrm>
          <a:off x="2435773" y="23406"/>
          <a:ext cx="2131765"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IE" sz="1100" kern="1200" dirty="0">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Quality Foundations </a:t>
          </a:r>
          <a:endParaRPr lang="en-IE" sz="1100" kern="1200" dirty="0">
            <a:solidFill>
              <a:schemeClr val="bg1"/>
            </a:solidFill>
          </a:endParaRPr>
        </a:p>
      </dsp:txBody>
      <dsp:txXfrm>
        <a:off x="2435773" y="23406"/>
        <a:ext cx="2131765" cy="460800"/>
      </dsp:txXfrm>
    </dsp:sp>
    <dsp:sp modelId="{163BFC04-26AE-432A-A2B8-0676DA6BC81A}">
      <dsp:nvSpPr>
        <dsp:cNvPr id="0" name=""/>
        <dsp:cNvSpPr/>
      </dsp:nvSpPr>
      <dsp:spPr>
        <a:xfrm>
          <a:off x="2435773" y="484206"/>
          <a:ext cx="2131765" cy="438925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b="1" kern="1200" dirty="0"/>
            <a:t>Quality Foundations </a:t>
          </a:r>
          <a:r>
            <a:rPr lang="en-GB" sz="1200" kern="1200" dirty="0"/>
            <a:t>is comprised of two sub tools, Fast Response &amp; QMS.</a:t>
          </a:r>
          <a:endParaRPr lang="en-IE" sz="1200" kern="1200" dirty="0"/>
        </a:p>
        <a:p>
          <a:pPr marL="114300" lvl="1" indent="-114300" algn="l" defTabSz="533400">
            <a:lnSpc>
              <a:spcPct val="90000"/>
            </a:lnSpc>
            <a:spcBef>
              <a:spcPct val="0"/>
            </a:spcBef>
            <a:spcAft>
              <a:spcPct val="15000"/>
            </a:spcAft>
            <a:buChar char="•"/>
          </a:pPr>
          <a:endParaRPr lang="en-IE" sz="1200" kern="1200" dirty="0"/>
        </a:p>
        <a:p>
          <a:pPr marL="114300" lvl="1" indent="-114300" algn="l" defTabSz="533400">
            <a:lnSpc>
              <a:spcPct val="90000"/>
            </a:lnSpc>
            <a:spcBef>
              <a:spcPct val="0"/>
            </a:spcBef>
            <a:spcAft>
              <a:spcPct val="15000"/>
            </a:spcAft>
            <a:buChar char="•"/>
          </a:pPr>
          <a:r>
            <a:rPr lang="en-IE" sz="1200" b="1" kern="1200" dirty="0"/>
            <a:t>Fast Response: </a:t>
          </a:r>
          <a:r>
            <a:rPr lang="en-GB" sz="1200" i="1" kern="1200" dirty="0">
              <a:ea typeface="+mn-lt"/>
              <a:cs typeface="+mn-lt"/>
            </a:rPr>
            <a:t>A standardized process that focuses on the speed and effectiveness of our response to quality failures or concerns.</a:t>
          </a:r>
          <a:endParaRPr lang="en-IE" sz="1200" kern="1200" dirty="0"/>
        </a:p>
        <a:p>
          <a:pPr marL="114300" lvl="1" indent="-114300" algn="l" defTabSz="533400">
            <a:lnSpc>
              <a:spcPct val="90000"/>
            </a:lnSpc>
            <a:spcBef>
              <a:spcPct val="0"/>
            </a:spcBef>
            <a:spcAft>
              <a:spcPct val="15000"/>
            </a:spcAft>
            <a:buChar char="•"/>
          </a:pPr>
          <a:endParaRPr lang="en-IE" sz="1200" kern="1200" dirty="0"/>
        </a:p>
        <a:p>
          <a:pPr marL="114300" lvl="1" indent="-114300" algn="l" defTabSz="533400">
            <a:lnSpc>
              <a:spcPct val="90000"/>
            </a:lnSpc>
            <a:spcBef>
              <a:spcPct val="0"/>
            </a:spcBef>
            <a:spcAft>
              <a:spcPct val="15000"/>
            </a:spcAft>
            <a:buChar char="•"/>
          </a:pPr>
          <a:r>
            <a:rPr lang="en-IE" sz="1200" b="1" kern="1200" dirty="0"/>
            <a:t>QMS: </a:t>
          </a:r>
          <a:r>
            <a:rPr lang="en-GB" sz="1200" i="1" kern="1200" dirty="0">
              <a:solidFill>
                <a:srgbClr val="666666">
                  <a:hueOff val="0"/>
                  <a:satOff val="0"/>
                  <a:lumOff val="0"/>
                  <a:alphaOff val="0"/>
                </a:srgbClr>
              </a:solidFill>
              <a:latin typeface="Arial"/>
              <a:ea typeface="Arial"/>
              <a:cs typeface="Arial"/>
            </a:rPr>
            <a:t>The basis for analysing customer requirements, defining the processes that contribute to the achievement of a product or service that is acceptable to the customer, and provisions for keeping these processes in control.</a:t>
          </a:r>
          <a:endParaRPr lang="en-IE" sz="1200" i="1" kern="1200" dirty="0">
            <a:solidFill>
              <a:srgbClr val="666666">
                <a:hueOff val="0"/>
                <a:satOff val="0"/>
                <a:lumOff val="0"/>
                <a:alphaOff val="0"/>
              </a:srgbClr>
            </a:solidFill>
            <a:latin typeface="Arial"/>
            <a:ea typeface="Arial"/>
            <a:cs typeface="Arial"/>
          </a:endParaRPr>
        </a:p>
      </dsp:txBody>
      <dsp:txXfrm>
        <a:off x="2435773" y="484206"/>
        <a:ext cx="2131765" cy="4389255"/>
      </dsp:txXfrm>
    </dsp:sp>
    <dsp:sp modelId="{3FD88DA5-C049-4713-9684-F2AE50EE24BC}">
      <dsp:nvSpPr>
        <dsp:cNvPr id="0" name=""/>
        <dsp:cNvSpPr/>
      </dsp:nvSpPr>
      <dsp:spPr>
        <a:xfrm>
          <a:off x="4865986" y="23406"/>
          <a:ext cx="2131765"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Font typeface="Arial" panose="020B0604020202020204" pitchFamily="34" charset="0"/>
            <a:buNone/>
          </a:pPr>
          <a:r>
            <a:rPr lang="en-IE" sz="1100" kern="1200" dirty="0">
              <a:solidFill>
                <a:schemeClr val="bg1"/>
              </a:solidFill>
              <a:hlinkClick xmlns:r="http://schemas.openxmlformats.org/officeDocument/2006/relationships" r:id="rId3">
                <a:extLst>
                  <a:ext uri="{A12FA001-AC4F-418D-AE19-62706E023703}">
                    <ahyp:hlinkClr xmlns:ahyp="http://schemas.microsoft.com/office/drawing/2018/hyperlinkcolor" val="tx"/>
                  </a:ext>
                </a:extLst>
              </a:hlinkClick>
            </a:rPr>
            <a:t>5S &amp; Visual Management</a:t>
          </a:r>
          <a:endParaRPr lang="en-IE" sz="1100" kern="1200" dirty="0">
            <a:solidFill>
              <a:schemeClr val="bg1"/>
            </a:solidFill>
          </a:endParaRPr>
        </a:p>
      </dsp:txBody>
      <dsp:txXfrm>
        <a:off x="4865986" y="23406"/>
        <a:ext cx="2131765" cy="460800"/>
      </dsp:txXfrm>
    </dsp:sp>
    <dsp:sp modelId="{BF025F6A-0903-4551-A4A6-1BD11E6E5F07}">
      <dsp:nvSpPr>
        <dsp:cNvPr id="0" name=""/>
        <dsp:cNvSpPr/>
      </dsp:nvSpPr>
      <dsp:spPr>
        <a:xfrm>
          <a:off x="4865986" y="484206"/>
          <a:ext cx="2131765" cy="438925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IE" sz="1000" b="1" kern="1200" dirty="0"/>
            <a:t>5S</a:t>
          </a:r>
          <a:r>
            <a:rPr lang="en-IE" sz="1000" kern="1200" dirty="0"/>
            <a:t> is a structured approach designed to cause workplace organization and process optimization by developing a culture of discipline and order. </a:t>
          </a:r>
        </a:p>
        <a:p>
          <a:pPr marL="57150" lvl="1" indent="-57150" algn="l" defTabSz="444500">
            <a:lnSpc>
              <a:spcPct val="90000"/>
            </a:lnSpc>
            <a:spcBef>
              <a:spcPct val="0"/>
            </a:spcBef>
            <a:spcAft>
              <a:spcPct val="15000"/>
            </a:spcAft>
            <a:buChar char="•"/>
          </a:pPr>
          <a:r>
            <a:rPr lang="en-IE" sz="1000" kern="1200" dirty="0"/>
            <a:t>One of the first tools as implementation is relatively easy and serves as both a “quick win” and as an opportunity for shop floor supervisors and operators to “own” it. </a:t>
          </a:r>
        </a:p>
        <a:p>
          <a:pPr marL="57150" lvl="1" indent="-57150" algn="l" defTabSz="444500">
            <a:lnSpc>
              <a:spcPct val="90000"/>
            </a:lnSpc>
            <a:spcBef>
              <a:spcPct val="0"/>
            </a:spcBef>
            <a:spcAft>
              <a:spcPct val="15000"/>
            </a:spcAft>
            <a:buChar char="•"/>
          </a:pPr>
          <a:r>
            <a:rPr lang="en-IE" sz="1000" kern="1200" dirty="0"/>
            <a:t>The 5 S’s are: Sort, Set In Order, Shine, Standardize &amp; Sustain</a:t>
          </a:r>
        </a:p>
        <a:p>
          <a:pPr marL="57150" lvl="1" indent="-57150" algn="l" defTabSz="444500">
            <a:lnSpc>
              <a:spcPct val="90000"/>
            </a:lnSpc>
            <a:spcBef>
              <a:spcPct val="0"/>
            </a:spcBef>
            <a:spcAft>
              <a:spcPct val="15000"/>
            </a:spcAft>
            <a:buChar char="•"/>
          </a:pPr>
          <a:r>
            <a:rPr lang="en-IE" sz="1000" kern="1200" dirty="0"/>
            <a:t>5S also stabilizes the process on a micro level and improves the overall safety of the workplace</a:t>
          </a:r>
        </a:p>
        <a:p>
          <a:pPr marL="57150" lvl="1" indent="-57150" algn="l" defTabSz="444500">
            <a:lnSpc>
              <a:spcPct val="90000"/>
            </a:lnSpc>
            <a:spcBef>
              <a:spcPct val="0"/>
            </a:spcBef>
            <a:spcAft>
              <a:spcPct val="15000"/>
            </a:spcAft>
            <a:buChar char="•"/>
          </a:pPr>
          <a:endParaRPr lang="en-IE" sz="1000" kern="1200" dirty="0"/>
        </a:p>
        <a:p>
          <a:pPr marL="57150" lvl="1" indent="-57150" algn="l" defTabSz="444500">
            <a:lnSpc>
              <a:spcPct val="90000"/>
            </a:lnSpc>
            <a:spcBef>
              <a:spcPct val="0"/>
            </a:spcBef>
            <a:spcAft>
              <a:spcPct val="15000"/>
            </a:spcAft>
            <a:buChar char="•"/>
          </a:pPr>
          <a:r>
            <a:rPr lang="en-IE" sz="1000" b="1" kern="1200" dirty="0"/>
            <a:t>Visual managements purpose is </a:t>
          </a:r>
          <a:r>
            <a:rPr lang="en-IE" sz="1000" kern="1200" dirty="0"/>
            <a:t>m is to focus attention on critical processes and activities and clearly  communicate the status of relevant information of key areas in “real time.”</a:t>
          </a:r>
        </a:p>
        <a:p>
          <a:pPr marL="57150" lvl="1" indent="-57150" algn="l" defTabSz="444500">
            <a:lnSpc>
              <a:spcPct val="90000"/>
            </a:lnSpc>
            <a:spcBef>
              <a:spcPct val="0"/>
            </a:spcBef>
            <a:spcAft>
              <a:spcPct val="15000"/>
            </a:spcAft>
            <a:buChar char="•"/>
          </a:pPr>
          <a:r>
            <a:rPr lang="en-IE" sz="1000" kern="1200" dirty="0"/>
            <a:t>Robust, easily understandable visual controls which facilitates a control system for safety, product and information flow, operations standards, schedules and helps to highlight immediate problems to any observer.</a:t>
          </a:r>
        </a:p>
        <a:p>
          <a:pPr marL="57150" lvl="1" indent="-57150" algn="l" defTabSz="444500">
            <a:lnSpc>
              <a:spcPct val="90000"/>
            </a:lnSpc>
            <a:spcBef>
              <a:spcPct val="0"/>
            </a:spcBef>
            <a:spcAft>
              <a:spcPct val="15000"/>
            </a:spcAft>
            <a:buChar char="•"/>
          </a:pPr>
          <a:endParaRPr lang="en-IE" sz="1000" kern="1200" dirty="0"/>
        </a:p>
      </dsp:txBody>
      <dsp:txXfrm>
        <a:off x="4865986" y="484206"/>
        <a:ext cx="2131765" cy="4389255"/>
      </dsp:txXfrm>
    </dsp:sp>
    <dsp:sp modelId="{798D41CB-0368-4C15-9D9E-216390F58701}">
      <dsp:nvSpPr>
        <dsp:cNvPr id="0" name=""/>
        <dsp:cNvSpPr/>
      </dsp:nvSpPr>
      <dsp:spPr>
        <a:xfrm>
          <a:off x="7296199" y="23406"/>
          <a:ext cx="2131765"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IE" sz="1100" kern="1200"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Total Productive Maintenance </a:t>
          </a:r>
          <a:endParaRPr lang="en-IE" sz="1100" kern="1200" dirty="0">
            <a:solidFill>
              <a:schemeClr val="bg1"/>
            </a:solidFill>
          </a:endParaRPr>
        </a:p>
      </dsp:txBody>
      <dsp:txXfrm>
        <a:off x="7296199" y="23406"/>
        <a:ext cx="2131765" cy="460800"/>
      </dsp:txXfrm>
    </dsp:sp>
    <dsp:sp modelId="{A833EBE1-A3CE-4DE9-93F7-7DD2D14525A3}">
      <dsp:nvSpPr>
        <dsp:cNvPr id="0" name=""/>
        <dsp:cNvSpPr/>
      </dsp:nvSpPr>
      <dsp:spPr>
        <a:xfrm>
          <a:off x="7296199" y="484206"/>
          <a:ext cx="2131765" cy="438925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IE" sz="1000" kern="1200" dirty="0"/>
            <a:t>The purpose of a TPM program is to enhance equipment to ‘like-new’ condition. TPM also aims to engage workers in continuous improvement efforts to reduce machine down time and  ensure maximum machine availability. </a:t>
          </a:r>
        </a:p>
        <a:p>
          <a:pPr marL="57150" lvl="1" indent="-57150" algn="l" defTabSz="444500">
            <a:lnSpc>
              <a:spcPct val="90000"/>
            </a:lnSpc>
            <a:spcBef>
              <a:spcPct val="0"/>
            </a:spcBef>
            <a:spcAft>
              <a:spcPct val="15000"/>
            </a:spcAft>
            <a:buChar char="•"/>
          </a:pPr>
          <a:endParaRPr lang="en-IE" sz="1000" kern="1200" dirty="0"/>
        </a:p>
        <a:p>
          <a:pPr marL="57150" lvl="1" indent="-57150" algn="l" defTabSz="444500">
            <a:lnSpc>
              <a:spcPct val="90000"/>
            </a:lnSpc>
            <a:spcBef>
              <a:spcPct val="0"/>
            </a:spcBef>
            <a:spcAft>
              <a:spcPct val="15000"/>
            </a:spcAft>
            <a:buChar char="•"/>
          </a:pPr>
          <a:r>
            <a:rPr lang="en-IE" sz="1000" kern="1200" dirty="0"/>
            <a:t>TPM relies on autonomous maintenance as it requires engagement from all employees to take ownership, build the discipline required to sustain performance, and exhibit accountability for one’s work area and machines. </a:t>
          </a:r>
        </a:p>
        <a:p>
          <a:pPr marL="57150" lvl="1" indent="-57150" algn="l" defTabSz="444500">
            <a:lnSpc>
              <a:spcPct val="90000"/>
            </a:lnSpc>
            <a:spcBef>
              <a:spcPct val="0"/>
            </a:spcBef>
            <a:spcAft>
              <a:spcPct val="15000"/>
            </a:spcAft>
            <a:buChar char="•"/>
          </a:pPr>
          <a:endParaRPr lang="en-IE" sz="1000" kern="1200" dirty="0"/>
        </a:p>
        <a:p>
          <a:pPr marL="57150" lvl="1" indent="-57150" algn="l" defTabSz="444500">
            <a:lnSpc>
              <a:spcPct val="90000"/>
            </a:lnSpc>
            <a:spcBef>
              <a:spcPct val="0"/>
            </a:spcBef>
            <a:spcAft>
              <a:spcPct val="15000"/>
            </a:spcAft>
            <a:buChar char="•"/>
          </a:pPr>
          <a:r>
            <a:rPr lang="en-IE" sz="1000" kern="1200" dirty="0"/>
            <a:t>Through effective autonomous and preventative maintenance initiatives TPM results in fewer line stoppages increased productivity, extend equipment life and reduce life cycle costs, promote a safer working environment through cleaning or inspecting and improving equipment, while stimulating a culture of problem solving through more active involvement from all employees.</a:t>
          </a:r>
        </a:p>
      </dsp:txBody>
      <dsp:txXfrm>
        <a:off x="7296199" y="484206"/>
        <a:ext cx="2131765" cy="4389255"/>
      </dsp:txXfrm>
    </dsp:sp>
    <dsp:sp modelId="{09A68C67-B63E-49EA-9824-39834AB3C090}">
      <dsp:nvSpPr>
        <dsp:cNvPr id="0" name=""/>
        <dsp:cNvSpPr/>
      </dsp:nvSpPr>
      <dsp:spPr>
        <a:xfrm>
          <a:off x="9726412" y="23406"/>
          <a:ext cx="2131765"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IE" sz="11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Process Improvement Management </a:t>
          </a:r>
          <a:endParaRPr lang="en-IE" sz="1100" kern="1200" dirty="0">
            <a:solidFill>
              <a:schemeClr val="bg1"/>
            </a:solidFill>
          </a:endParaRPr>
        </a:p>
      </dsp:txBody>
      <dsp:txXfrm>
        <a:off x="9726412" y="23406"/>
        <a:ext cx="2131765" cy="460800"/>
      </dsp:txXfrm>
    </dsp:sp>
    <dsp:sp modelId="{45CAEFF6-46E8-498B-9A0D-B5F189A91D22}">
      <dsp:nvSpPr>
        <dsp:cNvPr id="0" name=""/>
        <dsp:cNvSpPr/>
      </dsp:nvSpPr>
      <dsp:spPr>
        <a:xfrm>
          <a:off x="9726412" y="484206"/>
          <a:ext cx="2131765" cy="438925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IE" sz="1000" kern="1200" dirty="0"/>
            <a:t>PIM </a:t>
          </a:r>
          <a:r>
            <a:rPr lang="en-US" sz="1000" kern="1200" dirty="0"/>
            <a:t>is the </a:t>
          </a:r>
          <a:r>
            <a:rPr lang="en-US" sz="1000" b="1" kern="1200" dirty="0"/>
            <a:t>Management Operating System</a:t>
          </a:r>
          <a:r>
            <a:rPr lang="en-US" sz="1000" kern="1200" dirty="0"/>
            <a:t> in a Lean environment and</a:t>
          </a:r>
          <a:r>
            <a:rPr lang="en-IE" sz="1000" kern="1200" dirty="0"/>
            <a:t> is the driver of a continuous improvement culture and enables the sustainment of process improvements over time.</a:t>
          </a:r>
        </a:p>
        <a:p>
          <a:pPr marL="57150" lvl="1" indent="-57150" algn="l" defTabSz="444500">
            <a:lnSpc>
              <a:spcPct val="90000"/>
            </a:lnSpc>
            <a:spcBef>
              <a:spcPct val="0"/>
            </a:spcBef>
            <a:spcAft>
              <a:spcPct val="15000"/>
            </a:spcAft>
            <a:buChar char="•"/>
          </a:pPr>
          <a:endParaRPr lang="en-IE" sz="1000" kern="1200" dirty="0"/>
        </a:p>
        <a:p>
          <a:pPr marL="57150" lvl="1" indent="-57150" algn="l" defTabSz="444500">
            <a:lnSpc>
              <a:spcPct val="90000"/>
            </a:lnSpc>
            <a:spcBef>
              <a:spcPct val="0"/>
            </a:spcBef>
            <a:spcAft>
              <a:spcPct val="15000"/>
            </a:spcAft>
            <a:buFont typeface="Arial" panose="020B0604020202020204" pitchFamily="34" charset="0"/>
            <a:buChar char="•"/>
          </a:pPr>
          <a:r>
            <a:rPr lang="en-US" sz="1000" kern="1200" dirty="0"/>
            <a:t>The elements of PIM are Leader Standard Work, Visual Controls, Tiered Accountability Process, and Discipline.</a:t>
          </a:r>
          <a:r>
            <a:rPr lang="en-US" sz="1000" kern="1200" dirty="0">
              <a:solidFill>
                <a:srgbClr val="FF0000"/>
              </a:solidFill>
            </a:rPr>
            <a:t> </a:t>
          </a:r>
          <a:endParaRPr lang="en-IE" sz="1000" kern="1200" dirty="0"/>
        </a:p>
        <a:p>
          <a:pPr marL="57150" lvl="1" indent="-57150" algn="l" defTabSz="444500">
            <a:lnSpc>
              <a:spcPct val="90000"/>
            </a:lnSpc>
            <a:spcBef>
              <a:spcPct val="0"/>
            </a:spcBef>
            <a:spcAft>
              <a:spcPct val="15000"/>
            </a:spcAft>
            <a:buFont typeface="Arial" panose="020B0604020202020204" pitchFamily="34" charset="0"/>
            <a:buChar char="•"/>
          </a:pPr>
          <a:endParaRPr lang="en-IE" sz="1000" kern="1200" dirty="0"/>
        </a:p>
        <a:p>
          <a:pPr marL="57150" lvl="1" indent="-57150" algn="l" defTabSz="444500">
            <a:lnSpc>
              <a:spcPct val="90000"/>
            </a:lnSpc>
            <a:spcBef>
              <a:spcPct val="0"/>
            </a:spcBef>
            <a:spcAft>
              <a:spcPct val="15000"/>
            </a:spcAft>
            <a:buChar char="•"/>
          </a:pPr>
          <a:r>
            <a:rPr lang="en-US" sz="1000" kern="1200" dirty="0"/>
            <a:t>Benefits </a:t>
          </a:r>
        </a:p>
        <a:p>
          <a:pPr marL="114300" lvl="2" indent="-57150" algn="l" defTabSz="444500">
            <a:lnSpc>
              <a:spcPct val="90000"/>
            </a:lnSpc>
            <a:spcBef>
              <a:spcPct val="0"/>
            </a:spcBef>
            <a:spcAft>
              <a:spcPct val="15000"/>
            </a:spcAft>
            <a:buChar char="•"/>
          </a:pPr>
          <a:r>
            <a:rPr lang="en-US" altLang="nl-BE" sz="1000" b="1" kern="1200" dirty="0">
              <a:ea typeface="MS PGothic" panose="020B0600070205080204" pitchFamily="34" charset="-128"/>
            </a:rPr>
            <a:t>Rapid improvements </a:t>
          </a:r>
          <a:r>
            <a:rPr lang="en-US" altLang="nl-BE" sz="1000" kern="1200" dirty="0">
              <a:ea typeface="MS PGothic" panose="020B0600070205080204" pitchFamily="34" charset="-128"/>
            </a:rPr>
            <a:t>in Safety, Quality, Delivery and Cost</a:t>
          </a:r>
          <a:endParaRPr lang="en-US" sz="1000" b="1" kern="1200" dirty="0"/>
        </a:p>
        <a:p>
          <a:pPr marL="114300" lvl="2" indent="-57150" algn="l" defTabSz="444500">
            <a:lnSpc>
              <a:spcPct val="90000"/>
            </a:lnSpc>
            <a:spcBef>
              <a:spcPct val="0"/>
            </a:spcBef>
            <a:spcAft>
              <a:spcPct val="15000"/>
            </a:spcAft>
            <a:buChar char="•"/>
          </a:pPr>
          <a:r>
            <a:rPr lang="en-US" altLang="nl-BE" sz="1000" b="1" kern="1200" dirty="0">
              <a:ea typeface="MS PGothic" panose="020B0600070205080204" pitchFamily="34" charset="-128"/>
            </a:rPr>
            <a:t>Rapid identification </a:t>
          </a:r>
          <a:r>
            <a:rPr lang="en-US" altLang="nl-BE" sz="1000" kern="1200" dirty="0">
              <a:ea typeface="MS PGothic" panose="020B0600070205080204" pitchFamily="34" charset="-128"/>
            </a:rPr>
            <a:t>of performance issues.</a:t>
          </a:r>
          <a:endParaRPr lang="en-US" sz="1000" b="1" kern="1200" dirty="0"/>
        </a:p>
        <a:p>
          <a:pPr marL="114300" lvl="2" indent="-57150" algn="l" defTabSz="444500">
            <a:lnSpc>
              <a:spcPct val="90000"/>
            </a:lnSpc>
            <a:spcBef>
              <a:spcPct val="0"/>
            </a:spcBef>
            <a:spcAft>
              <a:spcPct val="15000"/>
            </a:spcAft>
            <a:buChar char="•"/>
          </a:pPr>
          <a:r>
            <a:rPr lang="en-US" altLang="nl-BE" sz="1000" kern="1200" dirty="0">
              <a:ea typeface="MS PGothic" panose="020B0600070205080204" pitchFamily="34" charset="-128"/>
            </a:rPr>
            <a:t>Implementation of </a:t>
          </a:r>
          <a:r>
            <a:rPr lang="en-US" altLang="nl-BE" sz="1000" b="1" kern="1200" dirty="0">
              <a:ea typeface="MS PGothic" panose="020B0600070205080204" pitchFamily="34" charset="-128"/>
            </a:rPr>
            <a:t>immediate countermeasures</a:t>
          </a:r>
          <a:r>
            <a:rPr lang="en-US" altLang="nl-BE" sz="1000" kern="1200" dirty="0">
              <a:ea typeface="MS PGothic" panose="020B0600070205080204" pitchFamily="34" charset="-128"/>
            </a:rPr>
            <a:t> or corrective actions.</a:t>
          </a:r>
        </a:p>
        <a:p>
          <a:pPr marL="114300" lvl="2" indent="-57150" algn="l" defTabSz="444500">
            <a:lnSpc>
              <a:spcPct val="90000"/>
            </a:lnSpc>
            <a:spcBef>
              <a:spcPct val="0"/>
            </a:spcBef>
            <a:spcAft>
              <a:spcPct val="15000"/>
            </a:spcAft>
            <a:buChar char="•"/>
          </a:pPr>
          <a:r>
            <a:rPr lang="en-US" altLang="nl-BE" sz="1000" b="1" kern="1200" dirty="0">
              <a:ea typeface="MS PGothic" panose="020B0600070205080204" pitchFamily="34" charset="-128"/>
            </a:rPr>
            <a:t>Problems</a:t>
          </a:r>
          <a:r>
            <a:rPr lang="en-US" altLang="nl-BE" sz="1000" kern="1200" dirty="0">
              <a:ea typeface="MS PGothic" panose="020B0600070205080204" pitchFamily="34" charset="-128"/>
            </a:rPr>
            <a:t> are identified through visuals and </a:t>
          </a:r>
          <a:r>
            <a:rPr lang="en-US" altLang="nl-BE" sz="1000" b="1" kern="1200" dirty="0">
              <a:ea typeface="MS PGothic" panose="020B0600070205080204" pitchFamily="34" charset="-128"/>
            </a:rPr>
            <a:t>solved at lowest tier possible</a:t>
          </a:r>
          <a:r>
            <a:rPr lang="en-US" altLang="nl-BE" sz="1000" kern="1200" dirty="0">
              <a:ea typeface="MS PGothic" panose="020B0600070205080204" pitchFamily="34" charset="-128"/>
            </a:rPr>
            <a:t>.</a:t>
          </a:r>
        </a:p>
        <a:p>
          <a:pPr marL="171450" lvl="3" indent="-57150" algn="l" defTabSz="444500">
            <a:lnSpc>
              <a:spcPct val="90000"/>
            </a:lnSpc>
            <a:spcBef>
              <a:spcPct val="0"/>
            </a:spcBef>
            <a:spcAft>
              <a:spcPct val="15000"/>
            </a:spcAft>
            <a:buChar char="•"/>
          </a:pPr>
          <a:r>
            <a:rPr lang="en-US" altLang="nl-BE" sz="1000" kern="1200" dirty="0">
              <a:ea typeface="MS PGothic" panose="020B0600070205080204" pitchFamily="34" charset="-128"/>
            </a:rPr>
            <a:t>Move from Reactive firefighting to </a:t>
          </a:r>
          <a:r>
            <a:rPr lang="en-US" altLang="nl-BE" sz="1000" b="1" kern="1200" dirty="0">
              <a:ea typeface="MS PGothic" panose="020B0600070205080204" pitchFamily="34" charset="-128"/>
            </a:rPr>
            <a:t>proactive focus </a:t>
          </a:r>
          <a:r>
            <a:rPr lang="en-US" altLang="nl-BE" sz="1000" kern="1200" dirty="0">
              <a:ea typeface="MS PGothic" panose="020B0600070205080204" pitchFamily="34" charset="-128"/>
            </a:rPr>
            <a:t>on processes.</a:t>
          </a:r>
        </a:p>
        <a:p>
          <a:pPr marL="171450" lvl="3" indent="-57150" algn="l" defTabSz="444500">
            <a:lnSpc>
              <a:spcPct val="90000"/>
            </a:lnSpc>
            <a:spcBef>
              <a:spcPct val="0"/>
            </a:spcBef>
            <a:spcAft>
              <a:spcPct val="15000"/>
            </a:spcAft>
            <a:buChar char="•"/>
          </a:pPr>
          <a:r>
            <a:rPr lang="en-US" sz="1000" kern="1200" dirty="0"/>
            <a:t>Includes and recognizes the input of </a:t>
          </a:r>
          <a:r>
            <a:rPr lang="en-US" sz="1000" b="1" kern="1200" dirty="0"/>
            <a:t>all employees</a:t>
          </a:r>
          <a:r>
            <a:rPr lang="en-US" sz="1000" kern="1200" dirty="0"/>
            <a:t>.</a:t>
          </a:r>
          <a:endParaRPr lang="en-US" altLang="nl-BE" sz="1000" kern="1200" dirty="0">
            <a:ea typeface="MS PGothic" panose="020B0600070205080204" pitchFamily="34" charset="-128"/>
          </a:endParaRPr>
        </a:p>
      </dsp:txBody>
      <dsp:txXfrm>
        <a:off x="9726412" y="484206"/>
        <a:ext cx="2131765" cy="43892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4B91B1-6BB3-4844-9FD7-556553E747F2}">
      <dsp:nvSpPr>
        <dsp:cNvPr id="0" name=""/>
        <dsp:cNvSpPr/>
      </dsp:nvSpPr>
      <dsp:spPr>
        <a:xfrm>
          <a:off x="3487" y="23384"/>
          <a:ext cx="3400350" cy="403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IE" sz="1400" kern="1200" dirty="0"/>
            <a:t>All Employees</a:t>
          </a:r>
        </a:p>
      </dsp:txBody>
      <dsp:txXfrm>
        <a:off x="3487" y="23384"/>
        <a:ext cx="3400350" cy="403200"/>
      </dsp:txXfrm>
    </dsp:sp>
    <dsp:sp modelId="{37173576-53B2-4FA4-8032-BAE92D78D477}">
      <dsp:nvSpPr>
        <dsp:cNvPr id="0" name=""/>
        <dsp:cNvSpPr/>
      </dsp:nvSpPr>
      <dsp:spPr>
        <a:xfrm>
          <a:off x="3487" y="426584"/>
          <a:ext cx="3400350" cy="453954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IE" sz="1400" kern="1200" dirty="0"/>
            <a:t>By engaging employees to identify opportunities for improvement, participate in Kaizen events, and empowering them to resolve problems when they occur, every employee can play a part in the deployment of TEOA &amp; the transformation process in his or her part of the business. </a:t>
          </a:r>
        </a:p>
        <a:p>
          <a:pPr marL="114300" lvl="1" indent="-114300" algn="l" defTabSz="622300">
            <a:lnSpc>
              <a:spcPct val="90000"/>
            </a:lnSpc>
            <a:spcBef>
              <a:spcPct val="0"/>
            </a:spcBef>
            <a:spcAft>
              <a:spcPct val="15000"/>
            </a:spcAft>
            <a:buChar char="•"/>
          </a:pPr>
          <a:r>
            <a:rPr lang="en-IE" sz="1400" kern="1200" dirty="0"/>
            <a:t>Lean principles and TEOA can then begin to become a part of the mindset and culture at all layers of the organization. </a:t>
          </a:r>
        </a:p>
        <a:p>
          <a:pPr marL="114300" lvl="1" indent="-114300" algn="l" defTabSz="622300">
            <a:lnSpc>
              <a:spcPct val="90000"/>
            </a:lnSpc>
            <a:spcBef>
              <a:spcPct val="0"/>
            </a:spcBef>
            <a:spcAft>
              <a:spcPct val="15000"/>
            </a:spcAft>
            <a:buChar char="•"/>
          </a:pPr>
          <a:r>
            <a:rPr lang="en-IE" sz="1400" kern="1200" dirty="0"/>
            <a:t>Recommended Training: TEOA Overview Recommended Learnings: Basic Problem Solving Training, TEOA Tool Specific </a:t>
          </a:r>
        </a:p>
      </dsp:txBody>
      <dsp:txXfrm>
        <a:off x="3487" y="426584"/>
        <a:ext cx="3400350" cy="4539543"/>
      </dsp:txXfrm>
    </dsp:sp>
    <dsp:sp modelId="{7F5740A1-36B1-497C-A561-CAF7CE3F96AD}">
      <dsp:nvSpPr>
        <dsp:cNvPr id="0" name=""/>
        <dsp:cNvSpPr/>
      </dsp:nvSpPr>
      <dsp:spPr>
        <a:xfrm>
          <a:off x="3879887" y="23384"/>
          <a:ext cx="3400350" cy="403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IE" sz="1400" kern="1200" dirty="0"/>
            <a:t>TEOA Kaizen Facilitators</a:t>
          </a:r>
        </a:p>
      </dsp:txBody>
      <dsp:txXfrm>
        <a:off x="3879887" y="23384"/>
        <a:ext cx="3400350" cy="403200"/>
      </dsp:txXfrm>
    </dsp:sp>
    <dsp:sp modelId="{72BE0F09-4F22-42BA-9E9B-9BA53108551B}">
      <dsp:nvSpPr>
        <dsp:cNvPr id="0" name=""/>
        <dsp:cNvSpPr/>
      </dsp:nvSpPr>
      <dsp:spPr>
        <a:xfrm>
          <a:off x="3879887" y="426584"/>
          <a:ext cx="3400350" cy="453954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IE" sz="1400" kern="1200" dirty="0"/>
            <a:t>In both implementation roadmaps (Fundamental &amp; Value Stream Transformation) there will be specific projects identified that will present breakthrough improvement opportunities. A mechanism for completing / implementing these actions and projects could come in the form of a Kaizen Event. A kaizen event is an uninterrupted focused improvement activity that typically takes place over 3-5 days.</a:t>
          </a:r>
        </a:p>
        <a:p>
          <a:pPr marL="114300" lvl="1" indent="-114300" algn="l" defTabSz="622300">
            <a:lnSpc>
              <a:spcPct val="90000"/>
            </a:lnSpc>
            <a:spcBef>
              <a:spcPct val="0"/>
            </a:spcBef>
            <a:spcAft>
              <a:spcPct val="15000"/>
            </a:spcAft>
            <a:buChar char="•"/>
          </a:pPr>
          <a:endParaRPr lang="en-IE" sz="1400" kern="1200" dirty="0"/>
        </a:p>
        <a:p>
          <a:pPr marL="114300" lvl="1" indent="-114300" algn="l" defTabSz="622300">
            <a:lnSpc>
              <a:spcPct val="90000"/>
            </a:lnSpc>
            <a:spcBef>
              <a:spcPct val="0"/>
            </a:spcBef>
            <a:spcAft>
              <a:spcPct val="15000"/>
            </a:spcAft>
            <a:buChar char="•"/>
          </a:pPr>
          <a:r>
            <a:rPr lang="en-IE" sz="1400" kern="1200" dirty="0"/>
            <a:t>SIT and value stream transformation teams need to be able to rely on select individuals who have the ability to facilitate and lead a group of participants through an event. A Kaizen Facilitator should be an effective coordinator, coach, communicator, critical thinker, and change agent. </a:t>
          </a:r>
        </a:p>
        <a:p>
          <a:pPr marL="114300" lvl="1" indent="-114300" algn="l" defTabSz="622300">
            <a:lnSpc>
              <a:spcPct val="90000"/>
            </a:lnSpc>
            <a:spcBef>
              <a:spcPct val="0"/>
            </a:spcBef>
            <a:spcAft>
              <a:spcPct val="15000"/>
            </a:spcAft>
            <a:buChar char="•"/>
          </a:pPr>
          <a:r>
            <a:rPr lang="en-IE" sz="1400" kern="1200" dirty="0"/>
            <a:t>Recommended Training: TEOA Overview, Lean training</a:t>
          </a:r>
        </a:p>
      </dsp:txBody>
      <dsp:txXfrm>
        <a:off x="3879887" y="426584"/>
        <a:ext cx="3400350" cy="4539543"/>
      </dsp:txXfrm>
    </dsp:sp>
    <dsp:sp modelId="{EE11A686-3657-4295-B88D-21B6237ADCF5}">
      <dsp:nvSpPr>
        <dsp:cNvPr id="0" name=""/>
        <dsp:cNvSpPr/>
      </dsp:nvSpPr>
      <dsp:spPr>
        <a:xfrm>
          <a:off x="7756286" y="23384"/>
          <a:ext cx="3400350" cy="403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IE" sz="1400" kern="1200" dirty="0"/>
            <a:t>TEOA Practitioners</a:t>
          </a:r>
        </a:p>
      </dsp:txBody>
      <dsp:txXfrm>
        <a:off x="7756286" y="23384"/>
        <a:ext cx="3400350" cy="403200"/>
      </dsp:txXfrm>
    </dsp:sp>
    <dsp:sp modelId="{4DF20F6F-34D3-43C0-A7F8-6690F4ED55BF}">
      <dsp:nvSpPr>
        <dsp:cNvPr id="0" name=""/>
        <dsp:cNvSpPr/>
      </dsp:nvSpPr>
      <dsp:spPr>
        <a:xfrm>
          <a:off x="7756286" y="426584"/>
          <a:ext cx="3400350" cy="453954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IE" sz="1400" kern="1200" dirty="0"/>
            <a:t>Practitioners must be able to lead site wide and Value Stream initiatives and assist with the implementation. </a:t>
          </a:r>
        </a:p>
        <a:p>
          <a:pPr marL="114300" lvl="1" indent="-114300" algn="l" defTabSz="622300">
            <a:lnSpc>
              <a:spcPct val="90000"/>
            </a:lnSpc>
            <a:spcBef>
              <a:spcPct val="0"/>
            </a:spcBef>
            <a:spcAft>
              <a:spcPct val="15000"/>
            </a:spcAft>
            <a:buChar char="•"/>
          </a:pPr>
          <a:r>
            <a:rPr lang="en-IE" sz="1400" kern="1200" dirty="0"/>
            <a:t>They serve a critical role in identifying improvement opportunities to achieve the desired future state and must help develop the skills of the other local change agents / champions throughout the implementation. </a:t>
          </a:r>
        </a:p>
        <a:p>
          <a:pPr marL="114300" lvl="1" indent="-114300" algn="l" defTabSz="622300">
            <a:lnSpc>
              <a:spcPct val="90000"/>
            </a:lnSpc>
            <a:spcBef>
              <a:spcPct val="0"/>
            </a:spcBef>
            <a:spcAft>
              <a:spcPct val="15000"/>
            </a:spcAft>
            <a:buChar char="•"/>
          </a:pPr>
          <a:r>
            <a:rPr lang="en-IE" sz="1400" kern="1200" dirty="0"/>
            <a:t>The TEOA Practitioner should serve as the expert resource on the deployment and implementation of the TEOA principles. </a:t>
          </a:r>
        </a:p>
        <a:p>
          <a:pPr marL="114300" lvl="1" indent="-114300" algn="l" defTabSz="622300">
            <a:lnSpc>
              <a:spcPct val="90000"/>
            </a:lnSpc>
            <a:spcBef>
              <a:spcPct val="0"/>
            </a:spcBef>
            <a:spcAft>
              <a:spcPct val="15000"/>
            </a:spcAft>
            <a:buChar char="•"/>
          </a:pPr>
          <a:r>
            <a:rPr lang="en-IE" sz="1400" kern="1200" dirty="0"/>
            <a:t>Practitioners should exhibit a progressive, change-focused track record in existing or previous roles.</a:t>
          </a:r>
        </a:p>
        <a:p>
          <a:pPr marL="114300" lvl="1" indent="-114300" algn="l" defTabSz="622300">
            <a:lnSpc>
              <a:spcPct val="90000"/>
            </a:lnSpc>
            <a:spcBef>
              <a:spcPct val="0"/>
            </a:spcBef>
            <a:spcAft>
              <a:spcPct val="15000"/>
            </a:spcAft>
            <a:buChar char="•"/>
          </a:pPr>
          <a:r>
            <a:rPr lang="en-IE" sz="1400" kern="1200" dirty="0"/>
            <a:t> Recommended Training: TEOA Overview, Lean Foundations Basic Boot Camp, Quick Changeover Workshop, Lean Essentials Advanced Boot Camp, Creating Continuous Flow, Lead a Value Stream Transformation</a:t>
          </a:r>
        </a:p>
      </dsp:txBody>
      <dsp:txXfrm>
        <a:off x="7756286" y="426584"/>
        <a:ext cx="3400350" cy="4539543"/>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AAE2603-2266-4059-975A-0ACEC064FCB3}" type="datetimeFigureOut">
              <a:rPr lang="en-GB" smtClean="0"/>
              <a:t>20/04/2022</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GB"/>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CF39F39-4864-4B19-80F3-487D85C47A0D}" type="slidenum">
              <a:rPr lang="en-GB" smtClean="0"/>
              <a:t>‹#›</a:t>
            </a:fld>
            <a:endParaRPr lang="en-GB"/>
          </a:p>
        </p:txBody>
      </p:sp>
    </p:spTree>
    <p:extLst>
      <p:ext uri="{BB962C8B-B14F-4D97-AF65-F5344CB8AC3E}">
        <p14:creationId xmlns:p14="http://schemas.microsoft.com/office/powerpoint/2010/main" val="1286918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5E6AD-6B24-48F3-BB85-E105A647327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6139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5E6AD-6B24-48F3-BB85-E105A647327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9569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CF39F39-4864-4B19-80F3-487D85C47A0D}" type="slidenum">
              <a:rPr lang="en-GB" smtClean="0"/>
              <a:t>18</a:t>
            </a:fld>
            <a:endParaRPr lang="en-GB"/>
          </a:p>
        </p:txBody>
      </p:sp>
    </p:spTree>
    <p:extLst>
      <p:ext uri="{BB962C8B-B14F-4D97-AF65-F5344CB8AC3E}">
        <p14:creationId xmlns:p14="http://schemas.microsoft.com/office/powerpoint/2010/main" val="3865939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5.jpe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5" Type="http://schemas.openxmlformats.org/officeDocument/2006/relationships/image" Target="../media/image5.jpeg"/><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D85FE49A-437C-3640-8C56-0B8BCAB424CD}"/>
              </a:ext>
            </a:extLst>
          </p:cNvPr>
          <p:cNvPicPr>
            <a:picLocks/>
          </p:cNvPicPr>
          <p:nvPr/>
        </p:nvPicPr>
        <p:blipFill rotWithShape="1">
          <a:blip r:embed="rId2">
            <a:extLst>
              <a:ext uri="{28A0092B-C50C-407E-A947-70E740481C1C}">
                <a14:useLocalDpi xmlns:a14="http://schemas.microsoft.com/office/drawing/2010/main" val="0"/>
              </a:ext>
            </a:extLst>
          </a:blip>
          <a:srcRect/>
          <a:stretch/>
        </p:blipFill>
        <p:spPr>
          <a:xfrm>
            <a:off x="4876800" y="0"/>
            <a:ext cx="7315200" cy="6858000"/>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Primary: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Tree>
    <p:extLst>
      <p:ext uri="{BB962C8B-B14F-4D97-AF65-F5344CB8AC3E}">
        <p14:creationId xmlns:p14="http://schemas.microsoft.com/office/powerpoint/2010/main" val="1846535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1955578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1115134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sz="half" idx="1"/>
          </p:nvPr>
        </p:nvSpPr>
        <p:spPr>
          <a:xfrm>
            <a:off x="514348" y="1302389"/>
            <a:ext cx="5400000" cy="4996811"/>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9"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
        <p:nvSpPr>
          <p:cNvPr id="10" name="Content Placeholder 2"/>
          <p:cNvSpPr>
            <a:spLocks noGrp="1"/>
          </p:cNvSpPr>
          <p:nvPr>
            <p:ph sz="half" idx="13"/>
          </p:nvPr>
        </p:nvSpPr>
        <p:spPr>
          <a:xfrm>
            <a:off x="6274348" y="1331268"/>
            <a:ext cx="5400000" cy="4963206"/>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57260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Slide Number Placeholder 5"/>
          <p:cNvSpPr>
            <a:spLocks noGrp="1"/>
          </p:cNvSpPr>
          <p:nvPr>
            <p:ph type="sldNum" sz="quarter" idx="10"/>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Text Placeholder 2"/>
          <p:cNvSpPr>
            <a:spLocks noGrp="1"/>
          </p:cNvSpPr>
          <p:nvPr>
            <p:ph type="body" idx="1" hasCustomPrompt="1"/>
          </p:nvPr>
        </p:nvSpPr>
        <p:spPr>
          <a:xfrm>
            <a:off x="514348" y="1369770"/>
            <a:ext cx="5400000" cy="283464"/>
          </a:xfrm>
          <a:prstGeom prst="rect">
            <a:avLst/>
          </a:prstGeom>
        </p:spPr>
        <p:txBody>
          <a:bodyPr lIns="0" tIns="0" rIns="0" bIns="0" anchor="t">
            <a:normAutofit/>
          </a:bodyPr>
          <a:lstStyle>
            <a:lvl1pPr marL="0" indent="0">
              <a:lnSpc>
                <a:spcPct val="100000"/>
              </a:lnSpc>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itle</a:t>
            </a:r>
          </a:p>
        </p:txBody>
      </p:sp>
      <p:sp>
        <p:nvSpPr>
          <p:cNvPr id="11" name="Content Placeholder 3"/>
          <p:cNvSpPr>
            <a:spLocks noGrp="1"/>
          </p:cNvSpPr>
          <p:nvPr>
            <p:ph sz="half" idx="2"/>
          </p:nvPr>
        </p:nvSpPr>
        <p:spPr>
          <a:xfrm>
            <a:off x="51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2" name="Text Placeholder 4"/>
          <p:cNvSpPr>
            <a:spLocks noGrp="1"/>
          </p:cNvSpPr>
          <p:nvPr>
            <p:ph type="body" sz="quarter" idx="3" hasCustomPrompt="1"/>
          </p:nvPr>
        </p:nvSpPr>
        <p:spPr>
          <a:xfrm>
            <a:off x="6274348" y="1369770"/>
            <a:ext cx="5400000"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a:t>Click to Add Title</a:t>
            </a:r>
          </a:p>
        </p:txBody>
      </p:sp>
      <p:sp>
        <p:nvSpPr>
          <p:cNvPr id="13" name="Content Placeholder 5"/>
          <p:cNvSpPr>
            <a:spLocks noGrp="1"/>
          </p:cNvSpPr>
          <p:nvPr>
            <p:ph sz="quarter" idx="4"/>
          </p:nvPr>
        </p:nvSpPr>
        <p:spPr>
          <a:xfrm>
            <a:off x="627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4"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Tree>
    <p:extLst>
      <p:ext uri="{BB962C8B-B14F-4D97-AF65-F5344CB8AC3E}">
        <p14:creationId xmlns:p14="http://schemas.microsoft.com/office/powerpoint/2010/main" val="15322370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idx="1"/>
          </p:nvPr>
        </p:nvSpPr>
        <p:spPr>
          <a:xfrm>
            <a:off x="5194348" y="987426"/>
            <a:ext cx="6480000" cy="5311774"/>
          </a:xfrm>
          <a:prstGeom prst="rect">
            <a:avLst/>
          </a:prstGeom>
        </p:spPr>
        <p:txBody>
          <a:bodyPr>
            <a:normAutofit/>
          </a:bodyPr>
          <a:lstStyle>
            <a:lvl1pPr>
              <a:lnSpc>
                <a:spcPct val="110000"/>
              </a:lnSpc>
              <a:defRPr sz="1600"/>
            </a:lvl1pPr>
            <a:lvl2pPr>
              <a:lnSpc>
                <a:spcPct val="110000"/>
              </a:lnSpc>
              <a:defRPr sz="1400"/>
            </a:lvl2pPr>
            <a:lvl3pPr>
              <a:lnSpc>
                <a:spcPct val="110000"/>
              </a:lnSpc>
              <a:defRPr sz="1200"/>
            </a:lvl3pPr>
            <a:lvl4pPr>
              <a:defRPr sz="1200"/>
            </a:lvl4pPr>
            <a:lvl5pPr>
              <a:defRPr sz="1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p:txBody>
      </p:sp>
      <p:sp>
        <p:nvSpPr>
          <p:cNvPr id="9" name="Text Placeholder 3"/>
          <p:cNvSpPr>
            <a:spLocks noGrp="1"/>
          </p:cNvSpPr>
          <p:nvPr>
            <p:ph type="body" sz="half" idx="2"/>
          </p:nvPr>
        </p:nvSpPr>
        <p:spPr>
          <a:xfrm>
            <a:off x="514348" y="2158148"/>
            <a:ext cx="4320000" cy="4141052"/>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19"/>
            <a:ext cx="4320000" cy="1244101"/>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41551782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ictur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Picture Placeholder 2"/>
          <p:cNvSpPr>
            <a:spLocks noGrp="1"/>
          </p:cNvSpPr>
          <p:nvPr>
            <p:ph type="pic" idx="1"/>
          </p:nvPr>
        </p:nvSpPr>
        <p:spPr>
          <a:xfrm>
            <a:off x="5194348" y="975499"/>
            <a:ext cx="6480000" cy="5323701"/>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ext Placeholder 3"/>
          <p:cNvSpPr>
            <a:spLocks noGrp="1"/>
          </p:cNvSpPr>
          <p:nvPr>
            <p:ph type="body" sz="half" idx="2"/>
          </p:nvPr>
        </p:nvSpPr>
        <p:spPr>
          <a:xfrm>
            <a:off x="514348" y="2158148"/>
            <a:ext cx="4320000" cy="4150678"/>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20"/>
            <a:ext cx="4320000" cy="1243584"/>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41460340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Tree>
    <p:extLst>
      <p:ext uri="{BB962C8B-B14F-4D97-AF65-F5344CB8AC3E}">
        <p14:creationId xmlns:p14="http://schemas.microsoft.com/office/powerpoint/2010/main" val="3792637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87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2006163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8"/>
            <a:ext cx="3476092"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WHEN</a:t>
            </a:r>
            <a:br>
              <a:rPr lang="en-US" sz="7000" b="1" cap="all">
                <a:solidFill>
                  <a:schemeClr val="tx2"/>
                </a:solidFill>
              </a:rPr>
            </a:br>
            <a:r>
              <a:rPr lang="en-US" sz="7000" b="1" cap="all">
                <a:solidFill>
                  <a:schemeClr val="tx2"/>
                </a:solidFill>
              </a:rPr>
              <a:t>TECHNOLOGY</a:t>
            </a:r>
            <a:br>
              <a:rPr lang="en-US" sz="7000" b="1" cap="all">
                <a:solidFill>
                  <a:schemeClr val="tx2"/>
                </a:solidFill>
              </a:rPr>
            </a:br>
            <a:r>
              <a:rPr lang="en-US" sz="7000" b="1" cap="all">
                <a:solidFill>
                  <a:schemeClr val="tx2"/>
                </a:solidFill>
              </a:rPr>
              <a:t>CONNECTS,</a:t>
            </a:r>
            <a:br>
              <a:rPr lang="en-US" sz="7000" b="1" cap="all">
                <a:solidFill>
                  <a:schemeClr val="tx2"/>
                </a:solidFill>
              </a:rPr>
            </a:br>
            <a:r>
              <a:rPr lang="en-US" sz="7000" b="1" cap="all">
                <a:solidFill>
                  <a:schemeClr val="tx2"/>
                </a:solidFill>
              </a:rPr>
              <a:t>SO DOES HUMANITY.</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79833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42871169-12A8-1C42-9606-1A70317D6D07}"/>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949952" y="3466618"/>
            <a:ext cx="4197096" cy="3391382"/>
          </a:xfrm>
          <a:prstGeom prst="rect">
            <a:avLst/>
          </a:prstGeom>
        </p:spPr>
      </p:pic>
      <p:pic>
        <p:nvPicPr>
          <p:cNvPr id="7" name="Picture 6" descr="A group of people sitting at a table&#10;&#10;Description automatically generated">
            <a:extLst>
              <a:ext uri="{FF2B5EF4-FFF2-40B4-BE49-F238E27FC236}">
                <a16:creationId xmlns:a16="http://schemas.microsoft.com/office/drawing/2014/main" id="{D423E103-45C5-C544-AE70-25DAFC51AC46}"/>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4949952" y="0"/>
            <a:ext cx="7242048" cy="3401568"/>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pic>
        <p:nvPicPr>
          <p:cNvPr id="5" name="Picture 4" descr="A picture containing indoor, table, kitchen, counter&#10;&#10;Description automatically generated">
            <a:extLst>
              <a:ext uri="{FF2B5EF4-FFF2-40B4-BE49-F238E27FC236}">
                <a16:creationId xmlns:a16="http://schemas.microsoft.com/office/drawing/2014/main" id="{E7F68BC9-693E-254B-8424-514AC712AC2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220200" y="3466618"/>
            <a:ext cx="2971800" cy="3391382"/>
          </a:xfrm>
          <a:prstGeom prst="rect">
            <a:avLst/>
          </a:prstGeom>
        </p:spPr>
      </p:pic>
    </p:spTree>
    <p:extLst>
      <p:ext uri="{BB962C8B-B14F-4D97-AF65-F5344CB8AC3E}">
        <p14:creationId xmlns:p14="http://schemas.microsoft.com/office/powerpoint/2010/main" val="403414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268819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ANY</a:t>
            </a:r>
            <a:br>
              <a:rPr lang="en-US" sz="7000" b="1" cap="all">
                <a:solidFill>
                  <a:schemeClr val="tx2"/>
                </a:solidFill>
              </a:rPr>
            </a:br>
            <a:r>
              <a:rPr lang="en-US" sz="7000" b="1" cap="all">
                <a:solidFill>
                  <a:schemeClr val="tx2"/>
                </a:solidFill>
              </a:rPr>
              <a:t>CONNECTION</a:t>
            </a:r>
            <a:br>
              <a:rPr lang="en-US" sz="7000" b="1" cap="all">
                <a:solidFill>
                  <a:schemeClr val="tx2"/>
                </a:solidFill>
              </a:rPr>
            </a:br>
            <a:r>
              <a:rPr lang="en-US" sz="7000" b="1" cap="all">
                <a:solidFill>
                  <a:schemeClr val="tx2"/>
                </a:solidFill>
              </a:rPr>
              <a:t>CAN CHANGE</a:t>
            </a:r>
            <a:br>
              <a:rPr lang="en-US" sz="7000" b="1" cap="all">
                <a:solidFill>
                  <a:schemeClr val="tx2"/>
                </a:solidFill>
              </a:rPr>
            </a:br>
            <a:r>
              <a:rPr lang="en-US" sz="7000" b="1" cap="all">
                <a:solidFill>
                  <a:schemeClr val="tx2"/>
                </a:solidFill>
              </a:rPr>
              <a:t>THE WORLD</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2318405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5182700"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CONNECT</a:t>
            </a:r>
            <a:br>
              <a:rPr lang="en-US" sz="7000" b="1" cap="all">
                <a:solidFill>
                  <a:schemeClr val="tx2"/>
                </a:solidFill>
              </a:rPr>
            </a:br>
            <a:r>
              <a:rPr lang="en-US" sz="7000" b="1" cap="all">
                <a:solidFill>
                  <a:schemeClr val="tx2"/>
                </a:solidFill>
              </a:rPr>
              <a:t>LIKE THE WORLD</a:t>
            </a:r>
            <a:br>
              <a:rPr lang="en-US" sz="7000" b="1" cap="all">
                <a:solidFill>
                  <a:schemeClr val="tx2"/>
                </a:solidFill>
              </a:rPr>
            </a:br>
            <a:r>
              <a:rPr lang="en-US" sz="7000" b="1" cap="all">
                <a:solidFill>
                  <a:schemeClr val="tx2"/>
                </a:solidFill>
              </a:rPr>
              <a:t>DEPENDS ON IT.</a:t>
            </a:r>
          </a:p>
          <a:p>
            <a:pPr>
              <a:lnSpc>
                <a:spcPct val="80000"/>
              </a:lnSpc>
            </a:pPr>
            <a:r>
              <a:rPr lang="en-US" sz="7000" b="1" cap="all">
                <a:solidFill>
                  <a:schemeClr val="tx2"/>
                </a:solidFill>
              </a:rPr>
              <a:t>BECAUSE IT DOES.</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1638769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47A0-F197-4145-BB90-223F07D7D0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BD011F-1DAC-4706-8463-05DA38968C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E3A851-D3CD-4046-BCE9-C829C1F23BB7}"/>
              </a:ext>
            </a:extLst>
          </p:cNvPr>
          <p:cNvSpPr>
            <a:spLocks noGrp="1"/>
          </p:cNvSpPr>
          <p:nvPr>
            <p:ph type="dt" sz="half" idx="10"/>
          </p:nvPr>
        </p:nvSpPr>
        <p:spPr/>
        <p:txBody>
          <a:bodyPr/>
          <a:lstStyle/>
          <a:p>
            <a:fld id="{DCBFEF03-74CB-4277-8CA2-E9D65FAB4D07}" type="datetimeFigureOut">
              <a:rPr lang="en-GB" smtClean="0"/>
              <a:t>20/04/2022</a:t>
            </a:fld>
            <a:endParaRPr lang="en-GB"/>
          </a:p>
        </p:txBody>
      </p:sp>
      <p:sp>
        <p:nvSpPr>
          <p:cNvPr id="5" name="Footer Placeholder 4">
            <a:extLst>
              <a:ext uri="{FF2B5EF4-FFF2-40B4-BE49-F238E27FC236}">
                <a16:creationId xmlns:a16="http://schemas.microsoft.com/office/drawing/2014/main" id="{B896EF38-2E99-4028-BD53-6552A7E7AE9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1E2F1-6F53-464A-8155-64F56EC1480B}"/>
              </a:ext>
            </a:extLst>
          </p:cNvPr>
          <p:cNvSpPr>
            <a:spLocks noGrp="1"/>
          </p:cNvSpPr>
          <p:nvPr>
            <p:ph type="sldNum" sz="quarter" idx="12"/>
          </p:nvPr>
        </p:nvSpPr>
        <p:spPr/>
        <p:txBody>
          <a:bodyPr/>
          <a:lstStyle/>
          <a:p>
            <a:fld id="{2E791AF3-C558-4F05-8E83-FCCF162642E7}" type="slidenum">
              <a:rPr lang="en-GB" smtClean="0"/>
              <a:t>‹#›</a:t>
            </a:fld>
            <a:endParaRPr lang="en-GB"/>
          </a:p>
        </p:txBody>
      </p:sp>
    </p:spTree>
    <p:extLst>
      <p:ext uri="{BB962C8B-B14F-4D97-AF65-F5344CB8AC3E}">
        <p14:creationId xmlns:p14="http://schemas.microsoft.com/office/powerpoint/2010/main" val="19121229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D85FE49A-437C-3640-8C56-0B8BCAB424CD}"/>
              </a:ext>
            </a:extLst>
          </p:cNvPr>
          <p:cNvPicPr>
            <a:picLocks/>
          </p:cNvPicPr>
          <p:nvPr/>
        </p:nvPicPr>
        <p:blipFill rotWithShape="1">
          <a:blip r:embed="rId2">
            <a:extLst>
              <a:ext uri="{28A0092B-C50C-407E-A947-70E740481C1C}">
                <a14:useLocalDpi xmlns:a14="http://schemas.microsoft.com/office/drawing/2010/main" val="0"/>
              </a:ext>
            </a:extLst>
          </a:blip>
          <a:srcRect/>
          <a:stretch/>
        </p:blipFill>
        <p:spPr>
          <a:xfrm>
            <a:off x="4876800" y="0"/>
            <a:ext cx="7315200" cy="6858000"/>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Primary: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Tree>
    <p:extLst>
      <p:ext uri="{BB962C8B-B14F-4D97-AF65-F5344CB8AC3E}">
        <p14:creationId xmlns:p14="http://schemas.microsoft.com/office/powerpoint/2010/main" val="3777983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42871169-12A8-1C42-9606-1A70317D6D07}"/>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949952" y="3466618"/>
            <a:ext cx="4197096" cy="3391382"/>
          </a:xfrm>
          <a:prstGeom prst="rect">
            <a:avLst/>
          </a:prstGeom>
        </p:spPr>
      </p:pic>
      <p:pic>
        <p:nvPicPr>
          <p:cNvPr id="7" name="Picture 6" descr="A group of people sitting at a table&#10;&#10;Description automatically generated">
            <a:extLst>
              <a:ext uri="{FF2B5EF4-FFF2-40B4-BE49-F238E27FC236}">
                <a16:creationId xmlns:a16="http://schemas.microsoft.com/office/drawing/2014/main" id="{D423E103-45C5-C544-AE70-25DAFC51AC46}"/>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4949952" y="0"/>
            <a:ext cx="7242048" cy="3401568"/>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pic>
        <p:nvPicPr>
          <p:cNvPr id="5" name="Picture 4" descr="A picture containing indoor, table, kitchen, counter&#10;&#10;Description automatically generated">
            <a:extLst>
              <a:ext uri="{FF2B5EF4-FFF2-40B4-BE49-F238E27FC236}">
                <a16:creationId xmlns:a16="http://schemas.microsoft.com/office/drawing/2014/main" id="{E7F68BC9-693E-254B-8424-514AC712AC2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220200" y="3466618"/>
            <a:ext cx="2971800" cy="3391382"/>
          </a:xfrm>
          <a:prstGeom prst="rect">
            <a:avLst/>
          </a:prstGeom>
        </p:spPr>
      </p:pic>
    </p:spTree>
    <p:extLst>
      <p:ext uri="{BB962C8B-B14F-4D97-AF65-F5344CB8AC3E}">
        <p14:creationId xmlns:p14="http://schemas.microsoft.com/office/powerpoint/2010/main" val="1760814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393344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518015" y="6403974"/>
            <a:ext cx="426914"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3" name="Content Placeholder 2"/>
          <p:cNvSpPr>
            <a:spLocks noGrp="1"/>
          </p:cNvSpPr>
          <p:nvPr>
            <p:ph idx="1"/>
          </p:nvPr>
        </p:nvSpPr>
        <p:spPr>
          <a:xfrm>
            <a:off x="514349" y="1717964"/>
            <a:ext cx="11160000" cy="4576510"/>
          </a:xfrm>
          <a:prstGeom prst="rect">
            <a:avLst/>
          </a:prstGeom>
        </p:spPr>
        <p:txBody>
          <a:bodyPr>
            <a:noAutofit/>
          </a:bodyPr>
          <a:lstStyle/>
          <a:p>
            <a:pPr lvl="0"/>
            <a:r>
              <a:rPr lang="en-US"/>
              <a:t>Edit Master text styles</a:t>
            </a:r>
          </a:p>
          <a:p>
            <a:pPr lvl="1"/>
            <a:r>
              <a:rPr lang="en-US"/>
              <a:t>Second level</a:t>
            </a:r>
          </a:p>
          <a:p>
            <a:pPr lvl="2"/>
            <a:r>
              <a:rPr lang="en-US"/>
              <a:t>Third level</a:t>
            </a:r>
          </a:p>
        </p:txBody>
      </p:sp>
      <p:sp>
        <p:nvSpPr>
          <p:cNvPr id="6" name="Title Placeholder 1"/>
          <p:cNvSpPr>
            <a:spLocks noGrp="1"/>
          </p:cNvSpPr>
          <p:nvPr>
            <p:ph type="title" hasCustomPrompt="1"/>
          </p:nvPr>
        </p:nvSpPr>
        <p:spPr>
          <a:xfrm>
            <a:off x="514348" y="655818"/>
            <a:ext cx="9829800" cy="91440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Tree>
    <p:extLst>
      <p:ext uri="{BB962C8B-B14F-4D97-AF65-F5344CB8AC3E}">
        <p14:creationId xmlns:p14="http://schemas.microsoft.com/office/powerpoint/2010/main" val="42519701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See following slide for example.</a:t>
            </a:r>
          </a:p>
        </p:txBody>
      </p:sp>
    </p:spTree>
    <p:extLst>
      <p:ext uri="{BB962C8B-B14F-4D97-AF65-F5344CB8AC3E}">
        <p14:creationId xmlns:p14="http://schemas.microsoft.com/office/powerpoint/2010/main" val="3645264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Example">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Placeholder 5" descr="A person sitting at a table using a computer&#10;&#10;Description automatically generated">
            <a:extLst>
              <a:ext uri="{FF2B5EF4-FFF2-40B4-BE49-F238E27FC236}">
                <a16:creationId xmlns:a16="http://schemas.microsoft.com/office/drawing/2014/main" id="{F1BDFA8B-AFBF-4142-BBF8-9BCBEE138EB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4876800" y="0"/>
            <a:ext cx="7315200" cy="6858000"/>
          </a:xfrm>
          <a:prstGeom prst="rect">
            <a:avLst/>
          </a:prstGeom>
        </p:spPr>
      </p:pic>
    </p:spTree>
    <p:extLst>
      <p:ext uri="{BB962C8B-B14F-4D97-AF65-F5344CB8AC3E}">
        <p14:creationId xmlns:p14="http://schemas.microsoft.com/office/powerpoint/2010/main" val="3988169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8492737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738005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10955118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11661672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5278825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242067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sz="half" idx="1"/>
          </p:nvPr>
        </p:nvSpPr>
        <p:spPr>
          <a:xfrm>
            <a:off x="514348" y="1302389"/>
            <a:ext cx="5400000" cy="4996811"/>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9"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
        <p:nvSpPr>
          <p:cNvPr id="10" name="Content Placeholder 2"/>
          <p:cNvSpPr>
            <a:spLocks noGrp="1"/>
          </p:cNvSpPr>
          <p:nvPr>
            <p:ph sz="half" idx="13"/>
          </p:nvPr>
        </p:nvSpPr>
        <p:spPr>
          <a:xfrm>
            <a:off x="6274348" y="1331268"/>
            <a:ext cx="5400000" cy="4963206"/>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457135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Slide Number Placeholder 5"/>
          <p:cNvSpPr>
            <a:spLocks noGrp="1"/>
          </p:cNvSpPr>
          <p:nvPr>
            <p:ph type="sldNum" sz="quarter" idx="10"/>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Text Placeholder 2"/>
          <p:cNvSpPr>
            <a:spLocks noGrp="1"/>
          </p:cNvSpPr>
          <p:nvPr>
            <p:ph type="body" idx="1" hasCustomPrompt="1"/>
          </p:nvPr>
        </p:nvSpPr>
        <p:spPr>
          <a:xfrm>
            <a:off x="514348" y="1369770"/>
            <a:ext cx="5400000" cy="283464"/>
          </a:xfrm>
          <a:prstGeom prst="rect">
            <a:avLst/>
          </a:prstGeom>
        </p:spPr>
        <p:txBody>
          <a:bodyPr lIns="0" tIns="0" rIns="0" bIns="0" anchor="t">
            <a:normAutofit/>
          </a:bodyPr>
          <a:lstStyle>
            <a:lvl1pPr marL="0" indent="0">
              <a:lnSpc>
                <a:spcPct val="100000"/>
              </a:lnSpc>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itle</a:t>
            </a:r>
          </a:p>
        </p:txBody>
      </p:sp>
      <p:sp>
        <p:nvSpPr>
          <p:cNvPr id="11" name="Content Placeholder 3"/>
          <p:cNvSpPr>
            <a:spLocks noGrp="1"/>
          </p:cNvSpPr>
          <p:nvPr>
            <p:ph sz="half" idx="2"/>
          </p:nvPr>
        </p:nvSpPr>
        <p:spPr>
          <a:xfrm>
            <a:off x="51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2" name="Text Placeholder 4"/>
          <p:cNvSpPr>
            <a:spLocks noGrp="1"/>
          </p:cNvSpPr>
          <p:nvPr>
            <p:ph type="body" sz="quarter" idx="3" hasCustomPrompt="1"/>
          </p:nvPr>
        </p:nvSpPr>
        <p:spPr>
          <a:xfrm>
            <a:off x="6274348" y="1369770"/>
            <a:ext cx="5400000"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a:t>Click to Add Title</a:t>
            </a:r>
          </a:p>
        </p:txBody>
      </p:sp>
      <p:sp>
        <p:nvSpPr>
          <p:cNvPr id="13" name="Content Placeholder 5"/>
          <p:cNvSpPr>
            <a:spLocks noGrp="1"/>
          </p:cNvSpPr>
          <p:nvPr>
            <p:ph sz="quarter" idx="4"/>
          </p:nvPr>
        </p:nvSpPr>
        <p:spPr>
          <a:xfrm>
            <a:off x="627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4"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Tree>
    <p:extLst>
      <p:ext uri="{BB962C8B-B14F-4D97-AF65-F5344CB8AC3E}">
        <p14:creationId xmlns:p14="http://schemas.microsoft.com/office/powerpoint/2010/main" val="34326191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idx="1"/>
          </p:nvPr>
        </p:nvSpPr>
        <p:spPr>
          <a:xfrm>
            <a:off x="5194348" y="987426"/>
            <a:ext cx="6480000" cy="5311774"/>
          </a:xfrm>
          <a:prstGeom prst="rect">
            <a:avLst/>
          </a:prstGeom>
        </p:spPr>
        <p:txBody>
          <a:bodyPr>
            <a:normAutofit/>
          </a:bodyPr>
          <a:lstStyle>
            <a:lvl1pPr>
              <a:lnSpc>
                <a:spcPct val="110000"/>
              </a:lnSpc>
              <a:defRPr sz="1600"/>
            </a:lvl1pPr>
            <a:lvl2pPr>
              <a:lnSpc>
                <a:spcPct val="110000"/>
              </a:lnSpc>
              <a:defRPr sz="1400"/>
            </a:lvl2pPr>
            <a:lvl3pPr>
              <a:lnSpc>
                <a:spcPct val="110000"/>
              </a:lnSpc>
              <a:defRPr sz="1200"/>
            </a:lvl3pPr>
            <a:lvl4pPr>
              <a:defRPr sz="1200"/>
            </a:lvl4pPr>
            <a:lvl5pPr>
              <a:defRPr sz="1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p:txBody>
      </p:sp>
      <p:sp>
        <p:nvSpPr>
          <p:cNvPr id="9" name="Text Placeholder 3"/>
          <p:cNvSpPr>
            <a:spLocks noGrp="1"/>
          </p:cNvSpPr>
          <p:nvPr>
            <p:ph type="body" sz="half" idx="2"/>
          </p:nvPr>
        </p:nvSpPr>
        <p:spPr>
          <a:xfrm>
            <a:off x="514348" y="2158148"/>
            <a:ext cx="4320000" cy="4141052"/>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19"/>
            <a:ext cx="4320000" cy="1244101"/>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41187852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tur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Picture Placeholder 2"/>
          <p:cNvSpPr>
            <a:spLocks noGrp="1"/>
          </p:cNvSpPr>
          <p:nvPr>
            <p:ph type="pic" idx="1"/>
          </p:nvPr>
        </p:nvSpPr>
        <p:spPr>
          <a:xfrm>
            <a:off x="5194348" y="975499"/>
            <a:ext cx="6480000" cy="5323701"/>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ext Placeholder 3"/>
          <p:cNvSpPr>
            <a:spLocks noGrp="1"/>
          </p:cNvSpPr>
          <p:nvPr>
            <p:ph type="body" sz="half" idx="2"/>
          </p:nvPr>
        </p:nvSpPr>
        <p:spPr>
          <a:xfrm>
            <a:off x="514348" y="2158148"/>
            <a:ext cx="4320000" cy="4150678"/>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20"/>
            <a:ext cx="4320000" cy="1243584"/>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22735517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Tree>
    <p:extLst>
      <p:ext uri="{BB962C8B-B14F-4D97-AF65-F5344CB8AC3E}">
        <p14:creationId xmlns:p14="http://schemas.microsoft.com/office/powerpoint/2010/main" val="16713858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83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518015" y="6403974"/>
            <a:ext cx="426914"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3" name="Content Placeholder 2"/>
          <p:cNvSpPr>
            <a:spLocks noGrp="1"/>
          </p:cNvSpPr>
          <p:nvPr>
            <p:ph idx="1"/>
          </p:nvPr>
        </p:nvSpPr>
        <p:spPr>
          <a:xfrm>
            <a:off x="514349" y="1717964"/>
            <a:ext cx="11160000" cy="4576510"/>
          </a:xfrm>
          <a:prstGeom prst="rect">
            <a:avLst/>
          </a:prstGeom>
        </p:spPr>
        <p:txBody>
          <a:bodyPr>
            <a:noAutofit/>
          </a:bodyPr>
          <a:lstStyle/>
          <a:p>
            <a:pPr lvl="0"/>
            <a:r>
              <a:rPr lang="en-US"/>
              <a:t>Edit Master text styles</a:t>
            </a:r>
          </a:p>
          <a:p>
            <a:pPr lvl="1"/>
            <a:r>
              <a:rPr lang="en-US"/>
              <a:t>Second level</a:t>
            </a:r>
          </a:p>
          <a:p>
            <a:pPr lvl="2"/>
            <a:r>
              <a:rPr lang="en-US"/>
              <a:t>Third level</a:t>
            </a:r>
          </a:p>
        </p:txBody>
      </p:sp>
      <p:sp>
        <p:nvSpPr>
          <p:cNvPr id="6" name="Title Placeholder 1"/>
          <p:cNvSpPr>
            <a:spLocks noGrp="1"/>
          </p:cNvSpPr>
          <p:nvPr>
            <p:ph type="title" hasCustomPrompt="1"/>
          </p:nvPr>
        </p:nvSpPr>
        <p:spPr>
          <a:xfrm>
            <a:off x="514348" y="655818"/>
            <a:ext cx="9829800" cy="91440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Tree>
    <p:extLst>
      <p:ext uri="{BB962C8B-B14F-4D97-AF65-F5344CB8AC3E}">
        <p14:creationId xmlns:p14="http://schemas.microsoft.com/office/powerpoint/2010/main" val="4452776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3054257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8"/>
            <a:ext cx="3476092"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WHEN</a:t>
            </a:r>
            <a:br>
              <a:rPr lang="en-US" sz="7000" b="1" cap="all">
                <a:solidFill>
                  <a:schemeClr val="tx2"/>
                </a:solidFill>
              </a:rPr>
            </a:br>
            <a:r>
              <a:rPr lang="en-US" sz="7000" b="1" cap="all">
                <a:solidFill>
                  <a:schemeClr val="tx2"/>
                </a:solidFill>
              </a:rPr>
              <a:t>TECHNOLOGY</a:t>
            </a:r>
            <a:br>
              <a:rPr lang="en-US" sz="7000" b="1" cap="all">
                <a:solidFill>
                  <a:schemeClr val="tx2"/>
                </a:solidFill>
              </a:rPr>
            </a:br>
            <a:r>
              <a:rPr lang="en-US" sz="7000" b="1" cap="all">
                <a:solidFill>
                  <a:schemeClr val="tx2"/>
                </a:solidFill>
              </a:rPr>
              <a:t>CONNECTS,</a:t>
            </a:r>
            <a:br>
              <a:rPr lang="en-US" sz="7000" b="1" cap="all">
                <a:solidFill>
                  <a:schemeClr val="tx2"/>
                </a:solidFill>
              </a:rPr>
            </a:br>
            <a:r>
              <a:rPr lang="en-US" sz="7000" b="1" cap="all">
                <a:solidFill>
                  <a:schemeClr val="tx2"/>
                </a:solidFill>
              </a:rPr>
              <a:t>SO DOES HUMANITY.</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17331798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268819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ANY</a:t>
            </a:r>
            <a:br>
              <a:rPr lang="en-US" sz="7000" b="1" cap="all">
                <a:solidFill>
                  <a:schemeClr val="tx2"/>
                </a:solidFill>
              </a:rPr>
            </a:br>
            <a:r>
              <a:rPr lang="en-US" sz="7000" b="1" cap="all">
                <a:solidFill>
                  <a:schemeClr val="tx2"/>
                </a:solidFill>
              </a:rPr>
              <a:t>CONNECTION</a:t>
            </a:r>
            <a:br>
              <a:rPr lang="en-US" sz="7000" b="1" cap="all">
                <a:solidFill>
                  <a:schemeClr val="tx2"/>
                </a:solidFill>
              </a:rPr>
            </a:br>
            <a:r>
              <a:rPr lang="en-US" sz="7000" b="1" cap="all">
                <a:solidFill>
                  <a:schemeClr val="tx2"/>
                </a:solidFill>
              </a:rPr>
              <a:t>CAN CHANGE</a:t>
            </a:r>
            <a:br>
              <a:rPr lang="en-US" sz="7000" b="1" cap="all">
                <a:solidFill>
                  <a:schemeClr val="tx2"/>
                </a:solidFill>
              </a:rPr>
            </a:br>
            <a:r>
              <a:rPr lang="en-US" sz="7000" b="1" cap="all">
                <a:solidFill>
                  <a:schemeClr val="tx2"/>
                </a:solidFill>
              </a:rPr>
              <a:t>THE WORLD</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19125642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5182700"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CONNECT</a:t>
            </a:r>
            <a:br>
              <a:rPr lang="en-US" sz="7000" b="1" cap="all">
                <a:solidFill>
                  <a:schemeClr val="tx2"/>
                </a:solidFill>
              </a:rPr>
            </a:br>
            <a:r>
              <a:rPr lang="en-US" sz="7000" b="1" cap="all">
                <a:solidFill>
                  <a:schemeClr val="tx2"/>
                </a:solidFill>
              </a:rPr>
              <a:t>LIKE THE WORLD</a:t>
            </a:r>
            <a:br>
              <a:rPr lang="en-US" sz="7000" b="1" cap="all">
                <a:solidFill>
                  <a:schemeClr val="tx2"/>
                </a:solidFill>
              </a:rPr>
            </a:br>
            <a:r>
              <a:rPr lang="en-US" sz="7000" b="1" cap="all">
                <a:solidFill>
                  <a:schemeClr val="tx2"/>
                </a:solidFill>
              </a:rPr>
              <a:t>DEPENDS ON IT.</a:t>
            </a:r>
          </a:p>
          <a:p>
            <a:pPr>
              <a:lnSpc>
                <a:spcPct val="80000"/>
              </a:lnSpc>
            </a:pPr>
            <a:r>
              <a:rPr lang="en-US" sz="7000" b="1" cap="all">
                <a:solidFill>
                  <a:schemeClr val="tx2"/>
                </a:solidFill>
              </a:rPr>
              <a:t>BECAUSE IT DOES.</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34006448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47A0-F197-4145-BB90-223F07D7D0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BD011F-1DAC-4706-8463-05DA38968C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E3A851-D3CD-4046-BCE9-C829C1F23BB7}"/>
              </a:ext>
            </a:extLst>
          </p:cNvPr>
          <p:cNvSpPr>
            <a:spLocks noGrp="1"/>
          </p:cNvSpPr>
          <p:nvPr>
            <p:ph type="dt" sz="half" idx="10"/>
          </p:nvPr>
        </p:nvSpPr>
        <p:spPr/>
        <p:txBody>
          <a:bodyPr/>
          <a:lstStyle/>
          <a:p>
            <a:fld id="{DCBFEF03-74CB-4277-8CA2-E9D65FAB4D07}" type="datetimeFigureOut">
              <a:rPr lang="en-GB" smtClean="0"/>
              <a:t>20/04/2022</a:t>
            </a:fld>
            <a:endParaRPr lang="en-GB"/>
          </a:p>
        </p:txBody>
      </p:sp>
      <p:sp>
        <p:nvSpPr>
          <p:cNvPr id="5" name="Footer Placeholder 4">
            <a:extLst>
              <a:ext uri="{FF2B5EF4-FFF2-40B4-BE49-F238E27FC236}">
                <a16:creationId xmlns:a16="http://schemas.microsoft.com/office/drawing/2014/main" id="{B896EF38-2E99-4028-BD53-6552A7E7AE9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1E2F1-6F53-464A-8155-64F56EC1480B}"/>
              </a:ext>
            </a:extLst>
          </p:cNvPr>
          <p:cNvSpPr>
            <a:spLocks noGrp="1"/>
          </p:cNvSpPr>
          <p:nvPr>
            <p:ph type="sldNum" sz="quarter" idx="12"/>
          </p:nvPr>
        </p:nvSpPr>
        <p:spPr/>
        <p:txBody>
          <a:bodyPr/>
          <a:lstStyle/>
          <a:p>
            <a:fld id="{2E791AF3-C558-4F05-8E83-FCCF162642E7}" type="slidenum">
              <a:rPr lang="en-GB" smtClean="0"/>
              <a:t>‹#›</a:t>
            </a:fld>
            <a:endParaRPr lang="en-GB"/>
          </a:p>
        </p:txBody>
      </p:sp>
    </p:spTree>
    <p:extLst>
      <p:ext uri="{BB962C8B-B14F-4D97-AF65-F5344CB8AC3E}">
        <p14:creationId xmlns:p14="http://schemas.microsoft.com/office/powerpoint/2010/main" val="33420264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514348" y="655820"/>
            <a:ext cx="11160000" cy="590706"/>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5"/>
          <p:cNvSpPr>
            <a:spLocks noGrp="1"/>
          </p:cNvSpPr>
          <p:nvPr>
            <p:ph type="sldNum" sz="quarter" idx="4"/>
          </p:nvPr>
        </p:nvSpPr>
        <p:spPr>
          <a:xfrm>
            <a:off x="514840" y="6416675"/>
            <a:ext cx="426914" cy="365125"/>
          </a:xfrm>
          <a:prstGeom prst="rect">
            <a:avLst/>
          </a:prstGeom>
        </p:spPr>
        <p:txBody>
          <a:bodyPr vert="horz" lIns="91440" tIns="45720" rIns="91440" bIns="45720" rtlCol="0" anchor="ctr"/>
          <a:lstStyle>
            <a:lvl1pPr algn="l">
              <a:defRPr sz="1000">
                <a:solidFill>
                  <a:srgbClr val="919195"/>
                </a:solidFill>
              </a:defRPr>
            </a:lvl1pPr>
          </a:lstStyle>
          <a:p>
            <a:fld id="{CA431686-8DE2-9B43-980D-29AE692D7900}" type="slidenum">
              <a:rPr lang="en-US" smtClean="0"/>
              <a:pPr/>
              <a:t>‹#›</a:t>
            </a:fld>
            <a:endParaRPr lang="en-US"/>
          </a:p>
        </p:txBody>
      </p:sp>
      <p:sp>
        <p:nvSpPr>
          <p:cNvPr id="10" name="Content Placeholder 2"/>
          <p:cNvSpPr>
            <a:spLocks noGrp="1"/>
          </p:cNvSpPr>
          <p:nvPr>
            <p:ph idx="10"/>
          </p:nvPr>
        </p:nvSpPr>
        <p:spPr>
          <a:xfrm>
            <a:off x="514349" y="1465877"/>
            <a:ext cx="11160000" cy="4604723"/>
          </a:xfrm>
        </p:spPr>
        <p:txBody>
          <a:bodyPr>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642277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D85FE49A-437C-3640-8C56-0B8BCAB424CD}"/>
              </a:ext>
            </a:extLst>
          </p:cNvPr>
          <p:cNvPicPr>
            <a:picLocks/>
          </p:cNvPicPr>
          <p:nvPr/>
        </p:nvPicPr>
        <p:blipFill rotWithShape="1">
          <a:blip r:embed="rId2">
            <a:extLst>
              <a:ext uri="{28A0092B-C50C-407E-A947-70E740481C1C}">
                <a14:useLocalDpi xmlns:a14="http://schemas.microsoft.com/office/drawing/2010/main" val="0"/>
              </a:ext>
            </a:extLst>
          </a:blip>
          <a:srcRect/>
          <a:stretch/>
        </p:blipFill>
        <p:spPr>
          <a:xfrm>
            <a:off x="4876800" y="0"/>
            <a:ext cx="7315200" cy="6858000"/>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Primary: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Tree>
    <p:extLst>
      <p:ext uri="{BB962C8B-B14F-4D97-AF65-F5344CB8AC3E}">
        <p14:creationId xmlns:p14="http://schemas.microsoft.com/office/powerpoint/2010/main" val="30212358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42871169-12A8-1C42-9606-1A70317D6D07}"/>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949952" y="3466618"/>
            <a:ext cx="4197096" cy="3391382"/>
          </a:xfrm>
          <a:prstGeom prst="rect">
            <a:avLst/>
          </a:prstGeom>
        </p:spPr>
      </p:pic>
      <p:pic>
        <p:nvPicPr>
          <p:cNvPr id="7" name="Picture 6" descr="A group of people sitting at a table&#10;&#10;Description automatically generated">
            <a:extLst>
              <a:ext uri="{FF2B5EF4-FFF2-40B4-BE49-F238E27FC236}">
                <a16:creationId xmlns:a16="http://schemas.microsoft.com/office/drawing/2014/main" id="{D423E103-45C5-C544-AE70-25DAFC51AC46}"/>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4949952" y="0"/>
            <a:ext cx="7242048" cy="3401568"/>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pic>
        <p:nvPicPr>
          <p:cNvPr id="5" name="Picture 4" descr="A picture containing indoor, table, kitchen, counter&#10;&#10;Description automatically generated">
            <a:extLst>
              <a:ext uri="{FF2B5EF4-FFF2-40B4-BE49-F238E27FC236}">
                <a16:creationId xmlns:a16="http://schemas.microsoft.com/office/drawing/2014/main" id="{E7F68BC9-693E-254B-8424-514AC712AC2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220200" y="3466618"/>
            <a:ext cx="2971800" cy="3391382"/>
          </a:xfrm>
          <a:prstGeom prst="rect">
            <a:avLst/>
          </a:prstGeom>
        </p:spPr>
      </p:pic>
    </p:spTree>
    <p:extLst>
      <p:ext uri="{BB962C8B-B14F-4D97-AF65-F5344CB8AC3E}">
        <p14:creationId xmlns:p14="http://schemas.microsoft.com/office/powerpoint/2010/main" val="5373231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69965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518015" y="6403974"/>
            <a:ext cx="426914"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3" name="Content Placeholder 2"/>
          <p:cNvSpPr>
            <a:spLocks noGrp="1"/>
          </p:cNvSpPr>
          <p:nvPr>
            <p:ph idx="1"/>
          </p:nvPr>
        </p:nvSpPr>
        <p:spPr>
          <a:xfrm>
            <a:off x="514349" y="1717964"/>
            <a:ext cx="11160000" cy="4576510"/>
          </a:xfrm>
          <a:prstGeom prst="rect">
            <a:avLst/>
          </a:prstGeom>
        </p:spPr>
        <p:txBody>
          <a:bodyPr>
            <a:noAutofit/>
          </a:bodyPr>
          <a:lstStyle/>
          <a:p>
            <a:pPr lvl="0"/>
            <a:r>
              <a:rPr lang="en-US"/>
              <a:t>Edit Master text styles</a:t>
            </a:r>
          </a:p>
          <a:p>
            <a:pPr lvl="1"/>
            <a:r>
              <a:rPr lang="en-US"/>
              <a:t>Second level</a:t>
            </a:r>
          </a:p>
          <a:p>
            <a:pPr lvl="2"/>
            <a:r>
              <a:rPr lang="en-US"/>
              <a:t>Third level</a:t>
            </a:r>
          </a:p>
        </p:txBody>
      </p:sp>
      <p:sp>
        <p:nvSpPr>
          <p:cNvPr id="6" name="Title Placeholder 1"/>
          <p:cNvSpPr>
            <a:spLocks noGrp="1"/>
          </p:cNvSpPr>
          <p:nvPr>
            <p:ph type="title" hasCustomPrompt="1"/>
          </p:nvPr>
        </p:nvSpPr>
        <p:spPr>
          <a:xfrm>
            <a:off x="514348" y="655818"/>
            <a:ext cx="9829800" cy="91440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Tree>
    <p:extLst>
      <p:ext uri="{BB962C8B-B14F-4D97-AF65-F5344CB8AC3E}">
        <p14:creationId xmlns:p14="http://schemas.microsoft.com/office/powerpoint/2010/main" val="3051037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See following slide for example.</a:t>
            </a:r>
          </a:p>
        </p:txBody>
      </p:sp>
    </p:spTree>
    <p:extLst>
      <p:ext uri="{BB962C8B-B14F-4D97-AF65-F5344CB8AC3E}">
        <p14:creationId xmlns:p14="http://schemas.microsoft.com/office/powerpoint/2010/main" val="33447236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See following slide for example.</a:t>
            </a:r>
          </a:p>
        </p:txBody>
      </p:sp>
    </p:spTree>
    <p:extLst>
      <p:ext uri="{BB962C8B-B14F-4D97-AF65-F5344CB8AC3E}">
        <p14:creationId xmlns:p14="http://schemas.microsoft.com/office/powerpoint/2010/main" val="28021140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Divider Example">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Placeholder 5" descr="A person sitting at a table using a computer&#10;&#10;Description automatically generated">
            <a:extLst>
              <a:ext uri="{FF2B5EF4-FFF2-40B4-BE49-F238E27FC236}">
                <a16:creationId xmlns:a16="http://schemas.microsoft.com/office/drawing/2014/main" id="{F1BDFA8B-AFBF-4142-BBF8-9BCBEE138EB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4876800" y="0"/>
            <a:ext cx="7315200" cy="6858000"/>
          </a:xfrm>
          <a:prstGeom prst="rect">
            <a:avLst/>
          </a:prstGeom>
        </p:spPr>
      </p:pic>
    </p:spTree>
    <p:extLst>
      <p:ext uri="{BB962C8B-B14F-4D97-AF65-F5344CB8AC3E}">
        <p14:creationId xmlns:p14="http://schemas.microsoft.com/office/powerpoint/2010/main" val="23117666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7979809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29890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37923373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31395412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17862438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sz="half" idx="1"/>
          </p:nvPr>
        </p:nvSpPr>
        <p:spPr>
          <a:xfrm>
            <a:off x="514348" y="1302389"/>
            <a:ext cx="5400000" cy="4996811"/>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9"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
        <p:nvSpPr>
          <p:cNvPr id="10" name="Content Placeholder 2"/>
          <p:cNvSpPr>
            <a:spLocks noGrp="1"/>
          </p:cNvSpPr>
          <p:nvPr>
            <p:ph sz="half" idx="13"/>
          </p:nvPr>
        </p:nvSpPr>
        <p:spPr>
          <a:xfrm>
            <a:off x="6274348" y="1331268"/>
            <a:ext cx="5400000" cy="4963206"/>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697357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Slide Number Placeholder 5"/>
          <p:cNvSpPr>
            <a:spLocks noGrp="1"/>
          </p:cNvSpPr>
          <p:nvPr>
            <p:ph type="sldNum" sz="quarter" idx="10"/>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Text Placeholder 2"/>
          <p:cNvSpPr>
            <a:spLocks noGrp="1"/>
          </p:cNvSpPr>
          <p:nvPr>
            <p:ph type="body" idx="1" hasCustomPrompt="1"/>
          </p:nvPr>
        </p:nvSpPr>
        <p:spPr>
          <a:xfrm>
            <a:off x="514348" y="1369770"/>
            <a:ext cx="5400000" cy="283464"/>
          </a:xfrm>
          <a:prstGeom prst="rect">
            <a:avLst/>
          </a:prstGeom>
        </p:spPr>
        <p:txBody>
          <a:bodyPr lIns="0" tIns="0" rIns="0" bIns="0" anchor="t">
            <a:normAutofit/>
          </a:bodyPr>
          <a:lstStyle>
            <a:lvl1pPr marL="0" indent="0">
              <a:lnSpc>
                <a:spcPct val="100000"/>
              </a:lnSpc>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itle</a:t>
            </a:r>
          </a:p>
        </p:txBody>
      </p:sp>
      <p:sp>
        <p:nvSpPr>
          <p:cNvPr id="11" name="Content Placeholder 3"/>
          <p:cNvSpPr>
            <a:spLocks noGrp="1"/>
          </p:cNvSpPr>
          <p:nvPr>
            <p:ph sz="half" idx="2"/>
          </p:nvPr>
        </p:nvSpPr>
        <p:spPr>
          <a:xfrm>
            <a:off x="51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2" name="Text Placeholder 4"/>
          <p:cNvSpPr>
            <a:spLocks noGrp="1"/>
          </p:cNvSpPr>
          <p:nvPr>
            <p:ph type="body" sz="quarter" idx="3" hasCustomPrompt="1"/>
          </p:nvPr>
        </p:nvSpPr>
        <p:spPr>
          <a:xfrm>
            <a:off x="6274348" y="1369770"/>
            <a:ext cx="5400000"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a:t>Click to Add Title</a:t>
            </a:r>
          </a:p>
        </p:txBody>
      </p:sp>
      <p:sp>
        <p:nvSpPr>
          <p:cNvPr id="13" name="Content Placeholder 5"/>
          <p:cNvSpPr>
            <a:spLocks noGrp="1"/>
          </p:cNvSpPr>
          <p:nvPr>
            <p:ph sz="quarter" idx="4"/>
          </p:nvPr>
        </p:nvSpPr>
        <p:spPr>
          <a:xfrm>
            <a:off x="627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4"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Tree>
    <p:extLst>
      <p:ext uri="{BB962C8B-B14F-4D97-AF65-F5344CB8AC3E}">
        <p14:creationId xmlns:p14="http://schemas.microsoft.com/office/powerpoint/2010/main" val="209973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idx="1"/>
          </p:nvPr>
        </p:nvSpPr>
        <p:spPr>
          <a:xfrm>
            <a:off x="5194348" y="987426"/>
            <a:ext cx="6480000" cy="5311774"/>
          </a:xfrm>
          <a:prstGeom prst="rect">
            <a:avLst/>
          </a:prstGeom>
        </p:spPr>
        <p:txBody>
          <a:bodyPr>
            <a:normAutofit/>
          </a:bodyPr>
          <a:lstStyle>
            <a:lvl1pPr>
              <a:lnSpc>
                <a:spcPct val="110000"/>
              </a:lnSpc>
              <a:defRPr sz="1600"/>
            </a:lvl1pPr>
            <a:lvl2pPr>
              <a:lnSpc>
                <a:spcPct val="110000"/>
              </a:lnSpc>
              <a:defRPr sz="1400"/>
            </a:lvl2pPr>
            <a:lvl3pPr>
              <a:lnSpc>
                <a:spcPct val="110000"/>
              </a:lnSpc>
              <a:defRPr sz="1200"/>
            </a:lvl3pPr>
            <a:lvl4pPr>
              <a:defRPr sz="1200"/>
            </a:lvl4pPr>
            <a:lvl5pPr>
              <a:defRPr sz="1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p:txBody>
      </p:sp>
      <p:sp>
        <p:nvSpPr>
          <p:cNvPr id="9" name="Text Placeholder 3"/>
          <p:cNvSpPr>
            <a:spLocks noGrp="1"/>
          </p:cNvSpPr>
          <p:nvPr>
            <p:ph type="body" sz="half" idx="2"/>
          </p:nvPr>
        </p:nvSpPr>
        <p:spPr>
          <a:xfrm>
            <a:off x="514348" y="2158148"/>
            <a:ext cx="4320000" cy="4141052"/>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19"/>
            <a:ext cx="4320000" cy="1244101"/>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37342943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Example">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Placeholder 5" descr="A person sitting at a table using a computer&#10;&#10;Description automatically generated">
            <a:extLst>
              <a:ext uri="{FF2B5EF4-FFF2-40B4-BE49-F238E27FC236}">
                <a16:creationId xmlns:a16="http://schemas.microsoft.com/office/drawing/2014/main" id="{F1BDFA8B-AFBF-4142-BBF8-9BCBEE138EB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4876800" y="0"/>
            <a:ext cx="7315200" cy="6858000"/>
          </a:xfrm>
          <a:prstGeom prst="rect">
            <a:avLst/>
          </a:prstGeom>
        </p:spPr>
      </p:pic>
    </p:spTree>
    <p:extLst>
      <p:ext uri="{BB962C8B-B14F-4D97-AF65-F5344CB8AC3E}">
        <p14:creationId xmlns:p14="http://schemas.microsoft.com/office/powerpoint/2010/main" val="23552518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Picture Placeholder 2"/>
          <p:cNvSpPr>
            <a:spLocks noGrp="1"/>
          </p:cNvSpPr>
          <p:nvPr>
            <p:ph type="pic" idx="1"/>
          </p:nvPr>
        </p:nvSpPr>
        <p:spPr>
          <a:xfrm>
            <a:off x="5194348" y="975499"/>
            <a:ext cx="6480000" cy="5323701"/>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ext Placeholder 3"/>
          <p:cNvSpPr>
            <a:spLocks noGrp="1"/>
          </p:cNvSpPr>
          <p:nvPr>
            <p:ph type="body" sz="half" idx="2"/>
          </p:nvPr>
        </p:nvSpPr>
        <p:spPr>
          <a:xfrm>
            <a:off x="514348" y="2158148"/>
            <a:ext cx="4320000" cy="4150678"/>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20"/>
            <a:ext cx="4320000" cy="1243584"/>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29548254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Tree>
    <p:extLst>
      <p:ext uri="{BB962C8B-B14F-4D97-AF65-F5344CB8AC3E}">
        <p14:creationId xmlns:p14="http://schemas.microsoft.com/office/powerpoint/2010/main" val="28660970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2531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3645760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8"/>
            <a:ext cx="3476092"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WHEN</a:t>
            </a:r>
            <a:br>
              <a:rPr lang="en-US" sz="7000" b="1" cap="all">
                <a:solidFill>
                  <a:schemeClr val="tx2"/>
                </a:solidFill>
              </a:rPr>
            </a:br>
            <a:r>
              <a:rPr lang="en-US" sz="7000" b="1" cap="all">
                <a:solidFill>
                  <a:schemeClr val="tx2"/>
                </a:solidFill>
              </a:rPr>
              <a:t>TECHNOLOGY</a:t>
            </a:r>
            <a:br>
              <a:rPr lang="en-US" sz="7000" b="1" cap="all">
                <a:solidFill>
                  <a:schemeClr val="tx2"/>
                </a:solidFill>
              </a:rPr>
            </a:br>
            <a:r>
              <a:rPr lang="en-US" sz="7000" b="1" cap="all">
                <a:solidFill>
                  <a:schemeClr val="tx2"/>
                </a:solidFill>
              </a:rPr>
              <a:t>CONNECTS,</a:t>
            </a:r>
            <a:br>
              <a:rPr lang="en-US" sz="7000" b="1" cap="all">
                <a:solidFill>
                  <a:schemeClr val="tx2"/>
                </a:solidFill>
              </a:rPr>
            </a:br>
            <a:r>
              <a:rPr lang="en-US" sz="7000" b="1" cap="all">
                <a:solidFill>
                  <a:schemeClr val="tx2"/>
                </a:solidFill>
              </a:rPr>
              <a:t>SO DOES HUMANITY.</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17387775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268819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ANY</a:t>
            </a:r>
            <a:br>
              <a:rPr lang="en-US" sz="7000" b="1" cap="all">
                <a:solidFill>
                  <a:schemeClr val="tx2"/>
                </a:solidFill>
              </a:rPr>
            </a:br>
            <a:r>
              <a:rPr lang="en-US" sz="7000" b="1" cap="all">
                <a:solidFill>
                  <a:schemeClr val="tx2"/>
                </a:solidFill>
              </a:rPr>
              <a:t>CONNECTION</a:t>
            </a:r>
            <a:br>
              <a:rPr lang="en-US" sz="7000" b="1" cap="all">
                <a:solidFill>
                  <a:schemeClr val="tx2"/>
                </a:solidFill>
              </a:rPr>
            </a:br>
            <a:r>
              <a:rPr lang="en-US" sz="7000" b="1" cap="all">
                <a:solidFill>
                  <a:schemeClr val="tx2"/>
                </a:solidFill>
              </a:rPr>
              <a:t>CAN CHANGE</a:t>
            </a:r>
            <a:br>
              <a:rPr lang="en-US" sz="7000" b="1" cap="all">
                <a:solidFill>
                  <a:schemeClr val="tx2"/>
                </a:solidFill>
              </a:rPr>
            </a:br>
            <a:r>
              <a:rPr lang="en-US" sz="7000" b="1" cap="all">
                <a:solidFill>
                  <a:schemeClr val="tx2"/>
                </a:solidFill>
              </a:rPr>
              <a:t>THE WORLD</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35405410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5182700"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CONNECT</a:t>
            </a:r>
            <a:br>
              <a:rPr lang="en-US" sz="7000" b="1" cap="all">
                <a:solidFill>
                  <a:schemeClr val="tx2"/>
                </a:solidFill>
              </a:rPr>
            </a:br>
            <a:r>
              <a:rPr lang="en-US" sz="7000" b="1" cap="all">
                <a:solidFill>
                  <a:schemeClr val="tx2"/>
                </a:solidFill>
              </a:rPr>
              <a:t>LIKE THE WORLD</a:t>
            </a:r>
            <a:br>
              <a:rPr lang="en-US" sz="7000" b="1" cap="all">
                <a:solidFill>
                  <a:schemeClr val="tx2"/>
                </a:solidFill>
              </a:rPr>
            </a:br>
            <a:r>
              <a:rPr lang="en-US" sz="7000" b="1" cap="all">
                <a:solidFill>
                  <a:schemeClr val="tx2"/>
                </a:solidFill>
              </a:rPr>
              <a:t>DEPENDS ON IT.</a:t>
            </a:r>
          </a:p>
          <a:p>
            <a:pPr>
              <a:lnSpc>
                <a:spcPct val="80000"/>
              </a:lnSpc>
            </a:pPr>
            <a:r>
              <a:rPr lang="en-US" sz="7000" b="1" cap="all">
                <a:solidFill>
                  <a:schemeClr val="tx2"/>
                </a:solidFill>
              </a:rPr>
              <a:t>BECAUSE IT DOES.</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7085456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47A0-F197-4145-BB90-223F07D7D0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BD011F-1DAC-4706-8463-05DA38968C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E3A851-D3CD-4046-BCE9-C829C1F23BB7}"/>
              </a:ext>
            </a:extLst>
          </p:cNvPr>
          <p:cNvSpPr>
            <a:spLocks noGrp="1"/>
          </p:cNvSpPr>
          <p:nvPr>
            <p:ph type="dt" sz="half" idx="10"/>
          </p:nvPr>
        </p:nvSpPr>
        <p:spPr/>
        <p:txBody>
          <a:bodyPr/>
          <a:lstStyle/>
          <a:p>
            <a:fld id="{DCBFEF03-74CB-4277-8CA2-E9D65FAB4D07}" type="datetimeFigureOut">
              <a:rPr lang="en-GB" smtClean="0"/>
              <a:t>20/04/2022</a:t>
            </a:fld>
            <a:endParaRPr lang="en-GB"/>
          </a:p>
        </p:txBody>
      </p:sp>
      <p:sp>
        <p:nvSpPr>
          <p:cNvPr id="5" name="Footer Placeholder 4">
            <a:extLst>
              <a:ext uri="{FF2B5EF4-FFF2-40B4-BE49-F238E27FC236}">
                <a16:creationId xmlns:a16="http://schemas.microsoft.com/office/drawing/2014/main" id="{B896EF38-2E99-4028-BD53-6552A7E7AE9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1E2F1-6F53-464A-8155-64F56EC1480B}"/>
              </a:ext>
            </a:extLst>
          </p:cNvPr>
          <p:cNvSpPr>
            <a:spLocks noGrp="1"/>
          </p:cNvSpPr>
          <p:nvPr>
            <p:ph type="sldNum" sz="quarter" idx="12"/>
          </p:nvPr>
        </p:nvSpPr>
        <p:spPr/>
        <p:txBody>
          <a:bodyPr/>
          <a:lstStyle/>
          <a:p>
            <a:fld id="{2E791AF3-C558-4F05-8E83-FCCF162642E7}" type="slidenum">
              <a:rPr lang="en-GB" smtClean="0"/>
              <a:t>‹#›</a:t>
            </a:fld>
            <a:endParaRPr lang="en-GB"/>
          </a:p>
        </p:txBody>
      </p:sp>
    </p:spTree>
    <p:extLst>
      <p:ext uri="{BB962C8B-B14F-4D97-AF65-F5344CB8AC3E}">
        <p14:creationId xmlns:p14="http://schemas.microsoft.com/office/powerpoint/2010/main" val="25502529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514348" y="655820"/>
            <a:ext cx="11160000" cy="590706"/>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5"/>
          <p:cNvSpPr>
            <a:spLocks noGrp="1"/>
          </p:cNvSpPr>
          <p:nvPr>
            <p:ph type="sldNum" sz="quarter" idx="4"/>
          </p:nvPr>
        </p:nvSpPr>
        <p:spPr>
          <a:xfrm>
            <a:off x="514840" y="6416675"/>
            <a:ext cx="426914" cy="365125"/>
          </a:xfrm>
          <a:prstGeom prst="rect">
            <a:avLst/>
          </a:prstGeom>
        </p:spPr>
        <p:txBody>
          <a:bodyPr vert="horz" lIns="91440" tIns="45720" rIns="91440" bIns="45720" rtlCol="0" anchor="ctr"/>
          <a:lstStyle>
            <a:lvl1pPr algn="l">
              <a:defRPr sz="1000">
                <a:solidFill>
                  <a:srgbClr val="919195"/>
                </a:solidFill>
              </a:defRPr>
            </a:lvl1pPr>
          </a:lstStyle>
          <a:p>
            <a:fld id="{CA431686-8DE2-9B43-980D-29AE692D7900}" type="slidenum">
              <a:rPr lang="en-US" smtClean="0"/>
              <a:pPr/>
              <a:t>‹#›</a:t>
            </a:fld>
            <a:endParaRPr lang="en-US"/>
          </a:p>
        </p:txBody>
      </p:sp>
      <p:sp>
        <p:nvSpPr>
          <p:cNvPr id="10" name="Content Placeholder 2"/>
          <p:cNvSpPr>
            <a:spLocks noGrp="1"/>
          </p:cNvSpPr>
          <p:nvPr>
            <p:ph idx="10"/>
          </p:nvPr>
        </p:nvSpPr>
        <p:spPr>
          <a:xfrm>
            <a:off x="514349" y="1465877"/>
            <a:ext cx="11160000" cy="4604723"/>
          </a:xfrm>
        </p:spPr>
        <p:txBody>
          <a:bodyPr>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4324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3829693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28123079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2708337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2.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1.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image" Target="../media/image1.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image" Target="../media/image10.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ags" Target="../tags/tag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ags" Target="../tags/tag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image" Target="../media/image1.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heme" Target="../theme/theme3.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image" Target="../media/image10.emf"/><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09FB4610-7AB1-DE45-895B-A160C586AA51}"/>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514348" y="655820"/>
            <a:ext cx="9880228" cy="473733"/>
          </a:xfrm>
          <a:prstGeom prst="rect">
            <a:avLst/>
          </a:prstGeom>
        </p:spPr>
        <p:txBody>
          <a:bodyPr vert="horz" lIns="0" tIns="0" rIns="0" bIns="0" rtlCol="0" anchor="t">
            <a:noAutofit/>
          </a:bodyPr>
          <a:lstStyle/>
          <a:p>
            <a:r>
              <a:rPr lang="en-US"/>
              <a:t>Click to edit Master title style</a:t>
            </a:r>
          </a:p>
        </p:txBody>
      </p:sp>
      <p:sp>
        <p:nvSpPr>
          <p:cNvPr id="28" name="Text Placeholder 2">
            <a:extLst>
              <a:ext uri="{FF2B5EF4-FFF2-40B4-BE49-F238E27FC236}">
                <a16:creationId xmlns:a16="http://schemas.microsoft.com/office/drawing/2014/main" id="{6FA6548F-1EDA-3849-A0DE-A334F27F10C1}"/>
              </a:ext>
            </a:extLst>
          </p:cNvPr>
          <p:cNvSpPr>
            <a:spLocks noGrp="1"/>
          </p:cNvSpPr>
          <p:nvPr>
            <p:ph type="body" idx="1"/>
          </p:nvPr>
        </p:nvSpPr>
        <p:spPr>
          <a:xfrm>
            <a:off x="514347" y="1296543"/>
            <a:ext cx="11156400" cy="49668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517365" y="6400800"/>
            <a:ext cx="426914" cy="429768"/>
          </a:xfrm>
          <a:prstGeom prst="rect">
            <a:avLst/>
          </a:prstGeom>
          <a:solidFill>
            <a:schemeClr val="bg2"/>
          </a:solidFill>
        </p:spPr>
        <p:txBody>
          <a:bodyPr vert="horz" lIns="91440" tIns="45720" rIns="91440" bIns="45720" rtlCol="0" anchor="ctr" anchorCtr="1"/>
          <a:lstStyle>
            <a:lvl1pPr algn="l">
              <a:defRPr sz="1000">
                <a:solidFill>
                  <a:schemeClr val="tx2"/>
                </a:solidFill>
              </a:defRPr>
            </a:lvl1pPr>
          </a:lstStyle>
          <a:p>
            <a:fld id="{2E791AF3-C558-4F05-8E83-FCCF162642E7}" type="slidenum">
              <a:rPr lang="en-GB" smtClean="0"/>
              <a:t>‹#›</a:t>
            </a:fld>
            <a:endParaRPr lang="en-GB"/>
          </a:p>
        </p:txBody>
      </p:sp>
      <p:sp>
        <p:nvSpPr>
          <p:cNvPr id="30" name="TextBox 29">
            <a:extLst>
              <a:ext uri="{FF2B5EF4-FFF2-40B4-BE49-F238E27FC236}">
                <a16:creationId xmlns:a16="http://schemas.microsoft.com/office/drawing/2014/main" id="{DEAC5401-B794-1C4D-A638-798EB2B93A3B}"/>
              </a:ext>
            </a:extLst>
          </p:cNvPr>
          <p:cNvSpPr txBox="1"/>
          <p:nvPr/>
        </p:nvSpPr>
        <p:spPr>
          <a:xfrm>
            <a:off x="1011514" y="6502165"/>
            <a:ext cx="10255926" cy="193275"/>
          </a:xfrm>
          <a:prstGeom prst="rect">
            <a:avLst/>
          </a:prstGeom>
          <a:noFill/>
        </p:spPr>
        <p:txBody>
          <a:bodyPr wrap="none" rtlCol="0">
            <a:noAutofit/>
          </a:bodyPr>
          <a:lstStyle/>
          <a:p>
            <a:pPr algn="l" defTabSz="914400">
              <a:defRPr/>
            </a:pPr>
            <a:r>
              <a:rPr lang="en-US" sz="800" b="1">
                <a:solidFill>
                  <a:schemeClr val="tx1"/>
                </a:solidFill>
                <a:effectLst/>
                <a:latin typeface="Arial" panose="020B0604020202020204" pitchFamily="34" charset="0"/>
                <a:cs typeface="Arial" panose="020B0604020202020204" pitchFamily="34" charset="0"/>
              </a:rPr>
              <a:t>© 2020 TE Connectivity.</a:t>
            </a:r>
            <a:r>
              <a:rPr lang="en-US" sz="800" b="1">
                <a:solidFill>
                  <a:schemeClr val="tx1"/>
                </a:solidFill>
                <a:effectLst/>
                <a:latin typeface="Arial"/>
                <a:cs typeface="Arial"/>
              </a:rPr>
              <a:t> </a:t>
            </a:r>
            <a:r>
              <a:rPr lang="en-US" sz="80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a:solidFill>
                  <a:schemeClr val="tx1"/>
                </a:solidFill>
                <a:effectLst/>
                <a:latin typeface="+mn-lt"/>
                <a:ea typeface="+mn-ea"/>
                <a:cs typeface="+mn-cs"/>
              </a:rPr>
              <a:t>Create a sustainable future by limiting print copies, and recycling paper.</a:t>
            </a:r>
            <a:endParaRPr lang="en-US" sz="80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p:nvCxnSpPr>
        <p:spPr>
          <a:xfrm>
            <a:off x="0" y="6851527"/>
            <a:ext cx="121920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1637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97A4191-70D9-48EA-A4AD-67A6841A6DC3}"/>
              </a:ext>
            </a:extLst>
          </p:cNvPr>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06" imgH="306" progId="TCLayout.ActiveDocument.1">
                  <p:embed/>
                </p:oleObj>
              </mc:Choice>
              <mc:Fallback>
                <p:oleObj name="think-cell Folie" r:id="rId27" imgW="306" imgH="306" progId="TCLayout.ActiveDocument.1">
                  <p:embed/>
                  <p:pic>
                    <p:nvPicPr>
                      <p:cNvPr id="3" name="Objekt 2" hidden="1">
                        <a:extLst>
                          <a:ext uri="{FF2B5EF4-FFF2-40B4-BE49-F238E27FC236}">
                            <a16:creationId xmlns:a16="http://schemas.microsoft.com/office/drawing/2014/main" id="{E97A4191-70D9-48EA-A4AD-67A6841A6DC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0F18B1B-14C1-4D31-AE5B-909A57AD5C1D}"/>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pic>
        <p:nvPicPr>
          <p:cNvPr id="26" name="Picture 25">
            <a:extLst>
              <a:ext uri="{FF2B5EF4-FFF2-40B4-BE49-F238E27FC236}">
                <a16:creationId xmlns:a16="http://schemas.microsoft.com/office/drawing/2014/main" id="{09FB4610-7AB1-DE45-895B-A160C586AA5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514348" y="655820"/>
            <a:ext cx="9880228" cy="473733"/>
          </a:xfrm>
          <a:prstGeom prst="rect">
            <a:avLst/>
          </a:prstGeom>
        </p:spPr>
        <p:txBody>
          <a:bodyPr vert="horz" lIns="0" tIns="0" rIns="0" bIns="0" rtlCol="0" anchor="t">
            <a:noAutofit/>
          </a:bodyPr>
          <a:lstStyle/>
          <a:p>
            <a:r>
              <a:rPr lang="en-US"/>
              <a:t>Click to edit Master title style</a:t>
            </a:r>
          </a:p>
        </p:txBody>
      </p:sp>
      <p:sp>
        <p:nvSpPr>
          <p:cNvPr id="28" name="Text Placeholder 2">
            <a:extLst>
              <a:ext uri="{FF2B5EF4-FFF2-40B4-BE49-F238E27FC236}">
                <a16:creationId xmlns:a16="http://schemas.microsoft.com/office/drawing/2014/main" id="{6FA6548F-1EDA-3849-A0DE-A334F27F10C1}"/>
              </a:ext>
            </a:extLst>
          </p:cNvPr>
          <p:cNvSpPr>
            <a:spLocks noGrp="1"/>
          </p:cNvSpPr>
          <p:nvPr>
            <p:ph type="body" idx="1"/>
          </p:nvPr>
        </p:nvSpPr>
        <p:spPr>
          <a:xfrm>
            <a:off x="514347" y="1296543"/>
            <a:ext cx="11156400" cy="49668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517365" y="6400800"/>
            <a:ext cx="426914" cy="429768"/>
          </a:xfrm>
          <a:prstGeom prst="rect">
            <a:avLst/>
          </a:prstGeom>
          <a:solidFill>
            <a:schemeClr val="bg2"/>
          </a:solidFill>
        </p:spPr>
        <p:txBody>
          <a:bodyPr vert="horz" lIns="91440" tIns="45720" rIns="91440" bIns="45720" rtlCol="0" anchor="ctr" anchorCtr="1"/>
          <a:lstStyle>
            <a:lvl1pPr algn="l">
              <a:defRPr sz="1000">
                <a:solidFill>
                  <a:schemeClr val="tx2"/>
                </a:solidFill>
              </a:defRPr>
            </a:lvl1pPr>
          </a:lstStyle>
          <a:p>
            <a:fld id="{2E791AF3-C558-4F05-8E83-FCCF162642E7}" type="slidenum">
              <a:rPr lang="en-GB" smtClean="0"/>
              <a:t>‹#›</a:t>
            </a:fld>
            <a:endParaRPr lang="en-GB"/>
          </a:p>
        </p:txBody>
      </p:sp>
      <p:sp>
        <p:nvSpPr>
          <p:cNvPr id="30" name="TextBox 29">
            <a:extLst>
              <a:ext uri="{FF2B5EF4-FFF2-40B4-BE49-F238E27FC236}">
                <a16:creationId xmlns:a16="http://schemas.microsoft.com/office/drawing/2014/main" id="{DEAC5401-B794-1C4D-A638-798EB2B93A3B}"/>
              </a:ext>
            </a:extLst>
          </p:cNvPr>
          <p:cNvSpPr txBox="1"/>
          <p:nvPr/>
        </p:nvSpPr>
        <p:spPr>
          <a:xfrm>
            <a:off x="1011514" y="6502165"/>
            <a:ext cx="10255926" cy="193275"/>
          </a:xfrm>
          <a:prstGeom prst="rect">
            <a:avLst/>
          </a:prstGeom>
          <a:noFill/>
        </p:spPr>
        <p:txBody>
          <a:bodyPr wrap="none" rtlCol="0">
            <a:noAutofit/>
          </a:bodyPr>
          <a:lstStyle/>
          <a:p>
            <a:pPr algn="l" defTabSz="914400">
              <a:defRPr/>
            </a:pPr>
            <a:r>
              <a:rPr lang="en-US" sz="800" b="1">
                <a:solidFill>
                  <a:schemeClr val="tx1"/>
                </a:solidFill>
                <a:effectLst/>
                <a:latin typeface="Arial" panose="020B0604020202020204" pitchFamily="34" charset="0"/>
                <a:cs typeface="Arial" panose="020B0604020202020204" pitchFamily="34" charset="0"/>
              </a:rPr>
              <a:t>© 2020 TE Connectivity.</a:t>
            </a:r>
            <a:r>
              <a:rPr lang="en-US" sz="800" b="1">
                <a:solidFill>
                  <a:schemeClr val="tx1"/>
                </a:solidFill>
                <a:effectLst/>
                <a:latin typeface="Arial"/>
                <a:cs typeface="Arial"/>
              </a:rPr>
              <a:t> </a:t>
            </a:r>
            <a:r>
              <a:rPr lang="en-US" sz="80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a:solidFill>
                  <a:schemeClr val="tx1"/>
                </a:solidFill>
                <a:effectLst/>
                <a:latin typeface="+mn-lt"/>
                <a:ea typeface="+mn-ea"/>
                <a:cs typeface="+mn-cs"/>
              </a:rPr>
              <a:t>Create a sustainable future by limiting print copies, and recycling paper.</a:t>
            </a:r>
            <a:endParaRPr lang="en-US" sz="80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p:nvCxnSpPr>
        <p:spPr>
          <a:xfrm>
            <a:off x="0" y="6851527"/>
            <a:ext cx="121920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515897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AFD2A2D-1C94-4C9C-B0C0-D9FE55629BF2}"/>
              </a:ext>
            </a:extLst>
          </p:cNvPr>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06" imgH="306" progId="TCLayout.ActiveDocument.1">
                  <p:embed/>
                </p:oleObj>
              </mc:Choice>
              <mc:Fallback>
                <p:oleObj name="think-cell Folie" r:id="rId27" imgW="306" imgH="306" progId="TCLayout.ActiveDocument.1">
                  <p:embed/>
                  <p:pic>
                    <p:nvPicPr>
                      <p:cNvPr id="3" name="Objekt 2" hidden="1">
                        <a:extLst>
                          <a:ext uri="{FF2B5EF4-FFF2-40B4-BE49-F238E27FC236}">
                            <a16:creationId xmlns:a16="http://schemas.microsoft.com/office/drawing/2014/main" id="{4AFD2A2D-1C94-4C9C-B0C0-D9FE55629BF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41EC7355-59DE-4164-A89C-4918E12BEC01}"/>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pic>
        <p:nvPicPr>
          <p:cNvPr id="26" name="Picture 25">
            <a:extLst>
              <a:ext uri="{FF2B5EF4-FFF2-40B4-BE49-F238E27FC236}">
                <a16:creationId xmlns:a16="http://schemas.microsoft.com/office/drawing/2014/main" id="{09FB4610-7AB1-DE45-895B-A160C586AA5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514348" y="655820"/>
            <a:ext cx="9880228" cy="473733"/>
          </a:xfrm>
          <a:prstGeom prst="rect">
            <a:avLst/>
          </a:prstGeom>
        </p:spPr>
        <p:txBody>
          <a:bodyPr vert="horz" lIns="0" tIns="0" rIns="0" bIns="0" rtlCol="0" anchor="t">
            <a:noAutofit/>
          </a:bodyPr>
          <a:lstStyle/>
          <a:p>
            <a:r>
              <a:rPr lang="en-US"/>
              <a:t>Click to edit Master title style</a:t>
            </a:r>
          </a:p>
        </p:txBody>
      </p:sp>
      <p:sp>
        <p:nvSpPr>
          <p:cNvPr id="28" name="Text Placeholder 2">
            <a:extLst>
              <a:ext uri="{FF2B5EF4-FFF2-40B4-BE49-F238E27FC236}">
                <a16:creationId xmlns:a16="http://schemas.microsoft.com/office/drawing/2014/main" id="{6FA6548F-1EDA-3849-A0DE-A334F27F10C1}"/>
              </a:ext>
            </a:extLst>
          </p:cNvPr>
          <p:cNvSpPr>
            <a:spLocks noGrp="1"/>
          </p:cNvSpPr>
          <p:nvPr>
            <p:ph type="body" idx="1"/>
          </p:nvPr>
        </p:nvSpPr>
        <p:spPr>
          <a:xfrm>
            <a:off x="514347" y="1296543"/>
            <a:ext cx="11156400" cy="49668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517365" y="6400800"/>
            <a:ext cx="426914" cy="429768"/>
          </a:xfrm>
          <a:prstGeom prst="rect">
            <a:avLst/>
          </a:prstGeom>
          <a:solidFill>
            <a:schemeClr val="bg2"/>
          </a:solidFill>
        </p:spPr>
        <p:txBody>
          <a:bodyPr vert="horz" lIns="91440" tIns="45720" rIns="91440" bIns="45720" rtlCol="0" anchor="ctr" anchorCtr="1"/>
          <a:lstStyle>
            <a:lvl1pPr algn="l">
              <a:defRPr sz="1000">
                <a:solidFill>
                  <a:schemeClr val="tx2"/>
                </a:solidFill>
              </a:defRPr>
            </a:lvl1pPr>
          </a:lstStyle>
          <a:p>
            <a:fld id="{2E791AF3-C558-4F05-8E83-FCCF162642E7}" type="slidenum">
              <a:rPr lang="en-GB" smtClean="0"/>
              <a:t>‹#›</a:t>
            </a:fld>
            <a:endParaRPr lang="en-GB"/>
          </a:p>
        </p:txBody>
      </p:sp>
      <p:sp>
        <p:nvSpPr>
          <p:cNvPr id="30" name="TextBox 29">
            <a:extLst>
              <a:ext uri="{FF2B5EF4-FFF2-40B4-BE49-F238E27FC236}">
                <a16:creationId xmlns:a16="http://schemas.microsoft.com/office/drawing/2014/main" id="{DEAC5401-B794-1C4D-A638-798EB2B93A3B}"/>
              </a:ext>
            </a:extLst>
          </p:cNvPr>
          <p:cNvSpPr txBox="1"/>
          <p:nvPr/>
        </p:nvSpPr>
        <p:spPr>
          <a:xfrm>
            <a:off x="1011514" y="6502165"/>
            <a:ext cx="10255926" cy="193275"/>
          </a:xfrm>
          <a:prstGeom prst="rect">
            <a:avLst/>
          </a:prstGeom>
          <a:noFill/>
        </p:spPr>
        <p:txBody>
          <a:bodyPr wrap="none" rtlCol="0">
            <a:noAutofit/>
          </a:bodyPr>
          <a:lstStyle/>
          <a:p>
            <a:pPr algn="l" defTabSz="914400">
              <a:defRPr/>
            </a:pPr>
            <a:r>
              <a:rPr lang="en-US" sz="800" b="1">
                <a:solidFill>
                  <a:schemeClr val="tx1"/>
                </a:solidFill>
                <a:effectLst/>
                <a:latin typeface="Arial" panose="020B0604020202020204" pitchFamily="34" charset="0"/>
                <a:cs typeface="Arial" panose="020B0604020202020204" pitchFamily="34" charset="0"/>
              </a:rPr>
              <a:t>© 2020 TE Connectivity.</a:t>
            </a:r>
            <a:r>
              <a:rPr lang="en-US" sz="800" b="1">
                <a:solidFill>
                  <a:schemeClr val="tx1"/>
                </a:solidFill>
                <a:effectLst/>
                <a:latin typeface="Arial"/>
                <a:cs typeface="Arial"/>
              </a:rPr>
              <a:t> </a:t>
            </a:r>
            <a:r>
              <a:rPr lang="en-US" sz="80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a:solidFill>
                  <a:schemeClr val="tx1"/>
                </a:solidFill>
                <a:effectLst/>
                <a:latin typeface="+mn-lt"/>
                <a:ea typeface="+mn-ea"/>
                <a:cs typeface="+mn-cs"/>
              </a:rPr>
              <a:t>Create a sustainable future by limiting print copies, and recycling paper.</a:t>
            </a:r>
            <a:endParaRPr lang="en-US" sz="80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p:nvCxnSpPr>
        <p:spPr>
          <a:xfrm>
            <a:off x="0" y="6851527"/>
            <a:ext cx="121920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601699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4.xml"/><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slide" Target="slide3.xml"/><Relationship Id="rId4" Type="http://schemas.openxmlformats.org/officeDocument/2006/relationships/image" Target="../media/image12.svg"/></Relationships>
</file>

<file path=ppt/slides/_rels/slide11.xml.rels><?xml version="1.0" encoding="UTF-8" standalone="yes"?>
<Relationships xmlns="http://schemas.openxmlformats.org/package/2006/relationships"><Relationship Id="rId8" Type="http://schemas.openxmlformats.org/officeDocument/2006/relationships/slide" Target="slide3.xml"/><Relationship Id="rId3" Type="http://schemas.microsoft.com/office/2007/relationships/hdphoto" Target="../media/hdphoto1.wdp"/><Relationship Id="rId7" Type="http://schemas.openxmlformats.org/officeDocument/2006/relationships/image" Target="../media/image12.svg"/><Relationship Id="rId2" Type="http://schemas.openxmlformats.org/officeDocument/2006/relationships/image" Target="../media/image33.pn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slide" Target="slide4.xml"/><Relationship Id="rId4" Type="http://schemas.openxmlformats.org/officeDocument/2006/relationships/hyperlink" Target="https://www.formatcompany.preventia.it/team/uncategorised/team" TargetMode="External"/><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18.png"/><Relationship Id="rId3" Type="http://schemas.openxmlformats.org/officeDocument/2006/relationships/diagramLayout" Target="../diagrams/layout2.xml"/><Relationship Id="rId7" Type="http://schemas.openxmlformats.org/officeDocument/2006/relationships/image" Target="../media/image14.png"/><Relationship Id="rId12" Type="http://schemas.openxmlformats.org/officeDocument/2006/relationships/slide" Target="slide3.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11" Type="http://schemas.openxmlformats.org/officeDocument/2006/relationships/image" Target="../media/image12.svg"/><Relationship Id="rId5" Type="http://schemas.openxmlformats.org/officeDocument/2006/relationships/diagramColors" Target="../diagrams/colors2.xml"/><Relationship Id="rId10" Type="http://schemas.openxmlformats.org/officeDocument/2006/relationships/image" Target="../media/image11.png"/><Relationship Id="rId4" Type="http://schemas.openxmlformats.org/officeDocument/2006/relationships/diagramQuickStyle" Target="../diagrams/quickStyle2.xml"/><Relationship Id="rId9" Type="http://schemas.openxmlformats.org/officeDocument/2006/relationships/slide" Target="slide4.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slide" Target="slide3.xml"/><Relationship Id="rId4" Type="http://schemas.openxmlformats.org/officeDocument/2006/relationships/image" Target="../media/image12.sv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slide" Target="slide3.xml"/><Relationship Id="rId4" Type="http://schemas.openxmlformats.org/officeDocument/2006/relationships/image" Target="../media/image12.svg"/></Relationships>
</file>

<file path=ppt/slides/_rels/slide15.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34.png"/><Relationship Id="rId7" Type="http://schemas.openxmlformats.org/officeDocument/2006/relationships/image" Target="../media/image12.svg"/><Relationship Id="rId2" Type="http://schemas.openxmlformats.org/officeDocument/2006/relationships/hyperlink" Target="http://myteams.tycoelectronics.com/sites/teoa/orglearning/SitePages/Home.aspx" TargetMode="Externa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slide" Target="slide4.xml"/><Relationship Id="rId4" Type="http://schemas.openxmlformats.org/officeDocument/2006/relationships/hyperlink" Target="https://pixabay.com/en/compass-north-south-east-west-2925824/" TargetMode="External"/><Relationship Id="rId9"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4.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slide" Target="slide3.xml"/><Relationship Id="rId4" Type="http://schemas.openxmlformats.org/officeDocument/2006/relationships/image" Target="../media/image12.svg"/></Relationships>
</file>

<file path=ppt/slides/_rels/slide17.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image" Target="../media/image18.png"/><Relationship Id="rId2" Type="http://schemas.openxmlformats.org/officeDocument/2006/relationships/image" Target="../media/image35.png"/><Relationship Id="rId1" Type="http://schemas.openxmlformats.org/officeDocument/2006/relationships/slideLayout" Target="../slideLayouts/slideLayout3.xml"/><Relationship Id="rId6" Type="http://schemas.openxmlformats.org/officeDocument/2006/relationships/slide" Target="slide3.xml"/><Relationship Id="rId5" Type="http://schemas.openxmlformats.org/officeDocument/2006/relationships/image" Target="../media/image12.sv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slide" Target="slide3.xml"/><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12.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3.xml"/><Relationship Id="rId11" Type="http://schemas.openxmlformats.org/officeDocument/2006/relationships/image" Target="../media/image11.png"/><Relationship Id="rId5" Type="http://schemas.openxmlformats.org/officeDocument/2006/relationships/diagramQuickStyle" Target="../diagrams/quickStyle3.xml"/><Relationship Id="rId10" Type="http://schemas.openxmlformats.org/officeDocument/2006/relationships/slide" Target="slide4.xml"/><Relationship Id="rId4" Type="http://schemas.openxmlformats.org/officeDocument/2006/relationships/diagramLayout" Target="../diagrams/layout3.xml"/><Relationship Id="rId9" Type="http://schemas.openxmlformats.org/officeDocument/2006/relationships/image" Target="../media/image17.svg"/><Relationship Id="rId1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hyperlink" Target="https://teams.connect.te.com/sites/TEOA/TEOA%20House%20Playbooks/Talent%20Development%20Playbook"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notesSlide" Target="../notesSlides/notesSlide1.xml"/><Relationship Id="rId1" Type="http://schemas.openxmlformats.org/officeDocument/2006/relationships/slideLayout" Target="../slideLayouts/slideLayout25.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svg"/></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3" Type="http://schemas.openxmlformats.org/officeDocument/2006/relationships/hyperlink" Target="http://myteams.tycoelectronics.com/sites/teoa/orglearning/SitePages/Home.aspx" TargetMode="External"/><Relationship Id="rId7" Type="http://schemas.openxmlformats.org/officeDocument/2006/relationships/image" Target="../media/image17.svg"/><Relationship Id="rId2" Type="http://schemas.openxmlformats.org/officeDocument/2006/relationships/hyperlink" Target="https://teams.connect.te.com/sites/TEOA/Pages/Home.aspx" TargetMode="Externa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hyperlink" Target="https://learnte.connect.te.com/Pages/Home.aspx" TargetMode="External"/><Relationship Id="rId4" Type="http://schemas.openxmlformats.org/officeDocument/2006/relationships/hyperlink" Target="https://teams.connect.te.com/sites/TEOA/TEOA%20House%20Playbooks/Forms/AllItems.aspx"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3.xml"/><Relationship Id="rId18" Type="http://schemas.openxmlformats.org/officeDocument/2006/relationships/slide" Target="slide22.xml"/><Relationship Id="rId3" Type="http://schemas.openxmlformats.org/officeDocument/2006/relationships/slideLayout" Target="../slideLayouts/slideLayout57.xml"/><Relationship Id="rId7" Type="http://schemas.openxmlformats.org/officeDocument/2006/relationships/slide" Target="slide6.xml"/><Relationship Id="rId12" Type="http://schemas.openxmlformats.org/officeDocument/2006/relationships/image" Target="../media/image17.svg"/><Relationship Id="rId17" Type="http://schemas.openxmlformats.org/officeDocument/2006/relationships/slide" Target="slide21.xml"/><Relationship Id="rId2" Type="http://schemas.openxmlformats.org/officeDocument/2006/relationships/tags" Target="../tags/tag6.xml"/><Relationship Id="rId16" Type="http://schemas.openxmlformats.org/officeDocument/2006/relationships/slide" Target="slide19.xml"/><Relationship Id="rId1" Type="http://schemas.openxmlformats.org/officeDocument/2006/relationships/tags" Target="../tags/tag5.xml"/><Relationship Id="rId6" Type="http://schemas.openxmlformats.org/officeDocument/2006/relationships/slide" Target="slide5.xml"/><Relationship Id="rId11" Type="http://schemas.openxmlformats.org/officeDocument/2006/relationships/image" Target="../media/image21.png"/><Relationship Id="rId5" Type="http://schemas.openxmlformats.org/officeDocument/2006/relationships/image" Target="../media/image10.emf"/><Relationship Id="rId15" Type="http://schemas.openxmlformats.org/officeDocument/2006/relationships/slide" Target="slide17.xml"/><Relationship Id="rId10" Type="http://schemas.openxmlformats.org/officeDocument/2006/relationships/slide" Target="slide10.xml"/><Relationship Id="rId4" Type="http://schemas.openxmlformats.org/officeDocument/2006/relationships/oleObject" Target="../embeddings/oleObject3.bin"/><Relationship Id="rId9" Type="http://schemas.openxmlformats.org/officeDocument/2006/relationships/slide" Target="slide9.xml"/><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svg"/><Relationship Id="rId7" Type="http://schemas.openxmlformats.org/officeDocument/2006/relationships/slide" Target="slide3.xml"/><Relationship Id="rId2" Type="http://schemas.openxmlformats.org/officeDocument/2006/relationships/image" Target="../media/image14.png"/><Relationship Id="rId1" Type="http://schemas.openxmlformats.org/officeDocument/2006/relationships/slideLayout" Target="../slideLayouts/slideLayout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slide" Target="slide4.xml"/></Relationships>
</file>

<file path=ppt/slides/_rels/slide6.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slide" Target="slide3.xml"/><Relationship Id="rId5" Type="http://schemas.openxmlformats.org/officeDocument/2006/relationships/image" Target="../media/image25.png"/><Relationship Id="rId10" Type="http://schemas.openxmlformats.org/officeDocument/2006/relationships/image" Target="../media/image12.svg"/><Relationship Id="rId4" Type="http://schemas.openxmlformats.org/officeDocument/2006/relationships/image" Target="../media/image24.pn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slide" Target="slide3.xml"/><Relationship Id="rId5" Type="http://schemas.openxmlformats.org/officeDocument/2006/relationships/image" Target="../media/image25.png"/><Relationship Id="rId10" Type="http://schemas.openxmlformats.org/officeDocument/2006/relationships/image" Target="../media/image12.svg"/><Relationship Id="rId4" Type="http://schemas.openxmlformats.org/officeDocument/2006/relationships/image" Target="../media/image24.png"/><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image" Target="../media/image18.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slide" Target="slide3.xml"/><Relationship Id="rId5" Type="http://schemas.openxmlformats.org/officeDocument/2006/relationships/image" Target="../media/image12.sv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30.emf"/><Relationship Id="rId7"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slide" Target="slide4.xml"/><Relationship Id="rId5" Type="http://schemas.openxmlformats.org/officeDocument/2006/relationships/image" Target="../media/image32.svg"/><Relationship Id="rId10" Type="http://schemas.openxmlformats.org/officeDocument/2006/relationships/image" Target="../media/image18.png"/><Relationship Id="rId4" Type="http://schemas.openxmlformats.org/officeDocument/2006/relationships/image" Target="../media/image31.png"/><Relationship Id="rId9"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C6DA5B3-5ECF-4453-84C1-8593A9DA912F}"/>
              </a:ext>
            </a:extLst>
          </p:cNvPr>
          <p:cNvSpPr>
            <a:spLocks noGrp="1"/>
          </p:cNvSpPr>
          <p:nvPr>
            <p:ph type="ctrTitle"/>
          </p:nvPr>
        </p:nvSpPr>
        <p:spPr/>
        <p:txBody>
          <a:bodyPr/>
          <a:lstStyle/>
          <a:p>
            <a:r>
              <a:rPr lang="en-US" dirty="0"/>
              <a:t>Create Stability &amp; Culture Playbook</a:t>
            </a:r>
            <a:br>
              <a:rPr lang="en-GB" dirty="0"/>
            </a:br>
            <a:br>
              <a:rPr lang="en-GB" dirty="0"/>
            </a:br>
            <a:r>
              <a:rPr lang="en-US" dirty="0"/>
              <a:t>TEC-406-160015</a:t>
            </a:r>
            <a:br>
              <a:rPr lang="en-GB" dirty="0"/>
            </a:br>
            <a:endParaRPr lang="en-GB" dirty="0"/>
          </a:p>
        </p:txBody>
      </p:sp>
      <p:sp>
        <p:nvSpPr>
          <p:cNvPr id="10" name="Subtitle 9">
            <a:extLst>
              <a:ext uri="{FF2B5EF4-FFF2-40B4-BE49-F238E27FC236}">
                <a16:creationId xmlns:a16="http://schemas.microsoft.com/office/drawing/2014/main" id="{7C20FABB-2F15-42F5-9CE9-AA271317BDE5}"/>
              </a:ext>
            </a:extLst>
          </p:cNvPr>
          <p:cNvSpPr>
            <a:spLocks noGrp="1"/>
          </p:cNvSpPr>
          <p:nvPr>
            <p:ph type="subTitle" idx="1"/>
          </p:nvPr>
        </p:nvSpPr>
        <p:spPr/>
        <p:txBody>
          <a:bodyPr/>
          <a:lstStyle/>
          <a:p>
            <a:r>
              <a:rPr lang="en-GB" dirty="0"/>
              <a:t>Draft 2020</a:t>
            </a:r>
          </a:p>
          <a:p>
            <a:endParaRPr lang="en-GB" dirty="0"/>
          </a:p>
          <a:p>
            <a:r>
              <a:rPr lang="en-GB" dirty="0"/>
              <a:t>Global Operations</a:t>
            </a:r>
          </a:p>
        </p:txBody>
      </p:sp>
    </p:spTree>
    <p:extLst>
      <p:ext uri="{BB962C8B-B14F-4D97-AF65-F5344CB8AC3E}">
        <p14:creationId xmlns:p14="http://schemas.microsoft.com/office/powerpoint/2010/main" val="2362180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95FA48-BBE1-4738-B070-9A8D28CAD178}"/>
              </a:ext>
            </a:extLst>
          </p:cNvPr>
          <p:cNvSpPr>
            <a:spLocks noGrp="1"/>
          </p:cNvSpPr>
          <p:nvPr>
            <p:ph type="ctrTitle"/>
          </p:nvPr>
        </p:nvSpPr>
        <p:spPr>
          <a:xfrm>
            <a:off x="368345" y="690880"/>
            <a:ext cx="4133088" cy="3662019"/>
          </a:xfrm>
        </p:spPr>
        <p:txBody>
          <a:bodyPr/>
          <a:lstStyle/>
          <a:p>
            <a:br>
              <a:rPr lang="en-GB" dirty="0"/>
            </a:br>
            <a:r>
              <a:rPr lang="en-GB" dirty="0"/>
              <a:t>Managing The Deployment</a:t>
            </a:r>
          </a:p>
        </p:txBody>
      </p:sp>
      <p:sp>
        <p:nvSpPr>
          <p:cNvPr id="2" name="Subtitle 1">
            <a:extLst>
              <a:ext uri="{FF2B5EF4-FFF2-40B4-BE49-F238E27FC236}">
                <a16:creationId xmlns:a16="http://schemas.microsoft.com/office/drawing/2014/main" id="{57293B78-A754-4EF7-873B-BD516E25D7DC}"/>
              </a:ext>
            </a:extLst>
          </p:cNvPr>
          <p:cNvSpPr>
            <a:spLocks noGrp="1"/>
          </p:cNvSpPr>
          <p:nvPr>
            <p:ph type="subTitle" idx="1"/>
          </p:nvPr>
        </p:nvSpPr>
        <p:spPr/>
        <p:txBody>
          <a:bodyPr/>
          <a:lstStyle/>
          <a:p>
            <a:r>
              <a:rPr lang="en-GB" i="1" dirty="0"/>
              <a:t>Add definition here</a:t>
            </a:r>
          </a:p>
        </p:txBody>
      </p:sp>
      <p:sp>
        <p:nvSpPr>
          <p:cNvPr id="9" name="Picture Placeholder 8">
            <a:extLst>
              <a:ext uri="{FF2B5EF4-FFF2-40B4-BE49-F238E27FC236}">
                <a16:creationId xmlns:a16="http://schemas.microsoft.com/office/drawing/2014/main" id="{E96E0604-E47E-40A9-9CF4-EF7B8DF81CD8}"/>
              </a:ext>
            </a:extLst>
          </p:cNvPr>
          <p:cNvSpPr>
            <a:spLocks noGrp="1"/>
          </p:cNvSpPr>
          <p:nvPr>
            <p:ph type="pic" idx="10"/>
          </p:nvPr>
        </p:nvSpPr>
        <p:spPr/>
      </p:sp>
      <p:grpSp>
        <p:nvGrpSpPr>
          <p:cNvPr id="10" name="Group 9">
            <a:extLst>
              <a:ext uri="{FF2B5EF4-FFF2-40B4-BE49-F238E27FC236}">
                <a16:creationId xmlns:a16="http://schemas.microsoft.com/office/drawing/2014/main" id="{6ABDC73E-FE37-41CF-BD92-27170579F2BF}"/>
              </a:ext>
            </a:extLst>
          </p:cNvPr>
          <p:cNvGrpSpPr/>
          <p:nvPr/>
        </p:nvGrpSpPr>
        <p:grpSpPr>
          <a:xfrm>
            <a:off x="9934795" y="6162156"/>
            <a:ext cx="1289135" cy="664721"/>
            <a:chOff x="8407400" y="5845092"/>
            <a:chExt cx="1289135" cy="672559"/>
          </a:xfrm>
        </p:grpSpPr>
        <p:pic>
          <p:nvPicPr>
            <p:cNvPr id="11" name="Graphic 10" descr="List">
              <a:hlinkClick r:id="rId2" action="ppaction://hlinksldjump"/>
              <a:extLst>
                <a:ext uri="{FF2B5EF4-FFF2-40B4-BE49-F238E27FC236}">
                  <a16:creationId xmlns:a16="http://schemas.microsoft.com/office/drawing/2014/main" id="{CE142C0C-3400-48C3-BFC0-6619976B81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12" name="Rectangle 11">
              <a:extLst>
                <a:ext uri="{FF2B5EF4-FFF2-40B4-BE49-F238E27FC236}">
                  <a16:creationId xmlns:a16="http://schemas.microsoft.com/office/drawing/2014/main" id="{1830589B-65F8-4061-AFC8-6CD3306B753E}"/>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13" name="Picture 12">
            <a:hlinkClick r:id="rId5" action="ppaction://hlinksldjump"/>
            <a:extLst>
              <a:ext uri="{FF2B5EF4-FFF2-40B4-BE49-F238E27FC236}">
                <a16:creationId xmlns:a16="http://schemas.microsoft.com/office/drawing/2014/main" id="{D4F8FA9E-07CC-4A09-9522-AEA40CAF6ECE}"/>
              </a:ext>
            </a:extLst>
          </p:cNvPr>
          <p:cNvPicPr>
            <a:picLocks noChangeAspect="1"/>
          </p:cNvPicPr>
          <p:nvPr/>
        </p:nvPicPr>
        <p:blipFill>
          <a:blip r:embed="rId6"/>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1921149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BB23D-B1EA-40AA-B211-8D6978BBB5A5}"/>
              </a:ext>
            </a:extLst>
          </p:cNvPr>
          <p:cNvSpPr>
            <a:spLocks noGrp="1"/>
          </p:cNvSpPr>
          <p:nvPr>
            <p:ph type="title"/>
          </p:nvPr>
        </p:nvSpPr>
        <p:spPr>
          <a:xfrm>
            <a:off x="585468" y="194040"/>
            <a:ext cx="9829800" cy="457200"/>
          </a:xfrm>
        </p:spPr>
        <p:txBody>
          <a:bodyPr/>
          <a:lstStyle/>
          <a:p>
            <a:r>
              <a:rPr lang="en-IE" dirty="0"/>
              <a:t>Managing The Deployment – Site Integration Team (SIT)</a:t>
            </a:r>
          </a:p>
        </p:txBody>
      </p:sp>
      <p:sp>
        <p:nvSpPr>
          <p:cNvPr id="3" name="Content Placeholder 2">
            <a:extLst>
              <a:ext uri="{FF2B5EF4-FFF2-40B4-BE49-F238E27FC236}">
                <a16:creationId xmlns:a16="http://schemas.microsoft.com/office/drawing/2014/main" id="{857E1F43-C6A2-4FC8-9771-2DAE7A183B42}"/>
              </a:ext>
            </a:extLst>
          </p:cNvPr>
          <p:cNvSpPr>
            <a:spLocks noGrp="1"/>
          </p:cNvSpPr>
          <p:nvPr>
            <p:ph idx="10"/>
          </p:nvPr>
        </p:nvSpPr>
        <p:spPr>
          <a:xfrm>
            <a:off x="516000" y="763762"/>
            <a:ext cx="11160000" cy="5426139"/>
          </a:xfrm>
        </p:spPr>
        <p:txBody>
          <a:bodyPr/>
          <a:lstStyle/>
          <a:p>
            <a:r>
              <a:rPr lang="en-IE" sz="2400" dirty="0"/>
              <a:t>To support the transformation, a site level team should be established that will work together through each phase of transformation. The Site Integration Team is made up of the local site leadership and typically consists of 6-8 people. The purpose this team is to:</a:t>
            </a:r>
          </a:p>
          <a:p>
            <a:endParaRPr lang="en-IE" sz="1800" dirty="0"/>
          </a:p>
          <a:p>
            <a:pPr marL="285750" indent="-285750">
              <a:buFont typeface="Arial" panose="020B0604020202020204" pitchFamily="34" charset="0"/>
              <a:buChar char="•"/>
            </a:pPr>
            <a:r>
              <a:rPr lang="en-IE" sz="1800" dirty="0"/>
              <a:t>Set overall vision and direction for the deployment.</a:t>
            </a:r>
          </a:p>
          <a:p>
            <a:pPr marL="285750" indent="-285750">
              <a:buFont typeface="Arial" panose="020B0604020202020204" pitchFamily="34" charset="0"/>
              <a:buChar char="•"/>
            </a:pPr>
            <a:r>
              <a:rPr lang="en-IE" sz="1800" dirty="0"/>
              <a:t>Lead the site communication process.</a:t>
            </a:r>
          </a:p>
          <a:p>
            <a:pPr marL="285750" indent="-285750">
              <a:buFont typeface="Arial" panose="020B0604020202020204" pitchFamily="34" charset="0"/>
              <a:buChar char="•"/>
            </a:pPr>
            <a:r>
              <a:rPr lang="en-IE" sz="1800" dirty="0"/>
              <a:t>Remove roadblocks.</a:t>
            </a:r>
          </a:p>
          <a:p>
            <a:pPr marL="285750" indent="-285750">
              <a:buFont typeface="Arial" panose="020B0604020202020204" pitchFamily="34" charset="0"/>
              <a:buChar char="•"/>
            </a:pPr>
            <a:r>
              <a:rPr lang="en-IE" sz="1800" dirty="0"/>
              <a:t>Provide resources for implementing the Fundamental Elements</a:t>
            </a:r>
          </a:p>
          <a:p>
            <a:pPr marL="285750" indent="-285750">
              <a:buFont typeface="Arial" panose="020B0604020202020204" pitchFamily="34" charset="0"/>
              <a:buChar char="•"/>
            </a:pPr>
            <a:r>
              <a:rPr lang="en-IE" sz="1800" dirty="0"/>
              <a:t>Consider resources required for a value stream organization.</a:t>
            </a:r>
          </a:p>
          <a:p>
            <a:pPr marL="285750" indent="-285750">
              <a:buFont typeface="Arial" panose="020B0604020202020204" pitchFamily="34" charset="0"/>
              <a:buChar char="•"/>
            </a:pPr>
            <a:r>
              <a:rPr lang="en-IE" sz="1800" dirty="0"/>
              <a:t>Review proposed ideas and make decisions.</a:t>
            </a:r>
          </a:p>
          <a:p>
            <a:pPr marL="285750" indent="-285750">
              <a:buFont typeface="Arial" panose="020B0604020202020204" pitchFamily="34" charset="0"/>
              <a:buChar char="•"/>
            </a:pPr>
            <a:r>
              <a:rPr lang="en-IE" sz="1800" dirty="0"/>
              <a:t>Short-circuit traditional decision making.</a:t>
            </a:r>
          </a:p>
          <a:p>
            <a:pPr marL="285750" indent="-285750">
              <a:buFont typeface="Arial" panose="020B0604020202020204" pitchFamily="34" charset="0"/>
              <a:buChar char="•"/>
            </a:pPr>
            <a:endParaRPr lang="en-IE" sz="1800" dirty="0"/>
          </a:p>
          <a:p>
            <a:r>
              <a:rPr lang="en-IE" sz="1800" dirty="0"/>
              <a:t>Duration : Six weeks (suggested)</a:t>
            </a:r>
          </a:p>
        </p:txBody>
      </p:sp>
      <p:pic>
        <p:nvPicPr>
          <p:cNvPr id="6" name="Picture 5">
            <a:extLst>
              <a:ext uri="{FF2B5EF4-FFF2-40B4-BE49-F238E27FC236}">
                <a16:creationId xmlns:a16="http://schemas.microsoft.com/office/drawing/2014/main" id="{DCAC9E8D-B10D-4C92-AE23-544CD463064B}"/>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contrast="-100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203440" y="2887036"/>
            <a:ext cx="4829811" cy="2823582"/>
          </a:xfrm>
          <a:prstGeom prst="rect">
            <a:avLst/>
          </a:prstGeom>
        </p:spPr>
      </p:pic>
      <p:grpSp>
        <p:nvGrpSpPr>
          <p:cNvPr id="8" name="Group 7">
            <a:extLst>
              <a:ext uri="{FF2B5EF4-FFF2-40B4-BE49-F238E27FC236}">
                <a16:creationId xmlns:a16="http://schemas.microsoft.com/office/drawing/2014/main" id="{7453841C-4E81-4821-8EF9-D14494106DD6}"/>
              </a:ext>
            </a:extLst>
          </p:cNvPr>
          <p:cNvGrpSpPr/>
          <p:nvPr/>
        </p:nvGrpSpPr>
        <p:grpSpPr>
          <a:xfrm>
            <a:off x="35768" y="6193279"/>
            <a:ext cx="1289135" cy="664721"/>
            <a:chOff x="8407400" y="5845092"/>
            <a:chExt cx="1289135" cy="672559"/>
          </a:xfrm>
        </p:grpSpPr>
        <p:pic>
          <p:nvPicPr>
            <p:cNvPr id="9" name="Graphic 8" descr="List">
              <a:hlinkClick r:id="rId5" action="ppaction://hlinksldjump"/>
              <a:extLst>
                <a:ext uri="{FF2B5EF4-FFF2-40B4-BE49-F238E27FC236}">
                  <a16:creationId xmlns:a16="http://schemas.microsoft.com/office/drawing/2014/main" id="{1EC23F7E-B1C8-4455-BE96-9F45D34326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57825" y="5845092"/>
              <a:ext cx="468725" cy="468725"/>
            </a:xfrm>
            <a:prstGeom prst="rect">
              <a:avLst/>
            </a:prstGeom>
          </p:spPr>
        </p:pic>
        <p:sp>
          <p:nvSpPr>
            <p:cNvPr id="10" name="Rectangle 9">
              <a:extLst>
                <a:ext uri="{FF2B5EF4-FFF2-40B4-BE49-F238E27FC236}">
                  <a16:creationId xmlns:a16="http://schemas.microsoft.com/office/drawing/2014/main" id="{15796EB6-70DC-406D-9688-F6500449B703}"/>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11" name="Picture 10">
            <a:hlinkClick r:id="rId8" action="ppaction://hlinksldjump"/>
            <a:extLst>
              <a:ext uri="{FF2B5EF4-FFF2-40B4-BE49-F238E27FC236}">
                <a16:creationId xmlns:a16="http://schemas.microsoft.com/office/drawing/2014/main" id="{C71EB569-D2E3-448F-A69D-0B3DDDEA98EC}"/>
              </a:ext>
            </a:extLst>
          </p:cNvPr>
          <p:cNvPicPr>
            <a:picLocks noChangeAspect="1"/>
          </p:cNvPicPr>
          <p:nvPr/>
        </p:nvPicPr>
        <p:blipFill>
          <a:blip r:embed="rId9"/>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23250417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83C4D749-5BCB-4B5C-86B5-01929210DA83}"/>
              </a:ext>
            </a:extLst>
          </p:cNvPr>
          <p:cNvGraphicFramePr/>
          <p:nvPr>
            <p:extLst>
              <p:ext uri="{D42A27DB-BD31-4B8C-83A1-F6EECF244321}">
                <p14:modId xmlns:p14="http://schemas.microsoft.com/office/powerpoint/2010/main" val="2788976921"/>
              </p:ext>
            </p:extLst>
          </p:nvPr>
        </p:nvGraphicFramePr>
        <p:xfrm>
          <a:off x="540385" y="694266"/>
          <a:ext cx="11137267" cy="44314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894A2BBC-52A0-4006-999A-4BB5BF459DDE}"/>
              </a:ext>
            </a:extLst>
          </p:cNvPr>
          <p:cNvSpPr>
            <a:spLocks noGrp="1"/>
          </p:cNvSpPr>
          <p:nvPr>
            <p:ph type="title"/>
          </p:nvPr>
        </p:nvSpPr>
        <p:spPr>
          <a:xfrm>
            <a:off x="514348" y="320040"/>
            <a:ext cx="9829800" cy="457200"/>
          </a:xfrm>
        </p:spPr>
        <p:txBody>
          <a:bodyPr/>
          <a:lstStyle/>
          <a:p>
            <a:r>
              <a:rPr lang="en-IE" dirty="0"/>
              <a:t>Program Management Activities</a:t>
            </a:r>
          </a:p>
        </p:txBody>
      </p:sp>
      <p:sp>
        <p:nvSpPr>
          <p:cNvPr id="11" name="Rectangle 10">
            <a:extLst>
              <a:ext uri="{FF2B5EF4-FFF2-40B4-BE49-F238E27FC236}">
                <a16:creationId xmlns:a16="http://schemas.microsoft.com/office/drawing/2014/main" id="{0ACA23E1-79CE-4198-80C6-13EF03FBFB52}"/>
              </a:ext>
            </a:extLst>
          </p:cNvPr>
          <p:cNvSpPr/>
          <p:nvPr/>
        </p:nvSpPr>
        <p:spPr>
          <a:xfrm>
            <a:off x="978293" y="5383106"/>
            <a:ext cx="11137267" cy="954107"/>
          </a:xfrm>
          <a:prstGeom prst="rect">
            <a:avLst/>
          </a:prstGeom>
        </p:spPr>
        <p:txBody>
          <a:bodyPr wrap="square">
            <a:spAutoFit/>
          </a:bodyPr>
          <a:lstStyle/>
          <a:p>
            <a:r>
              <a:rPr lang="en-IE" sz="1400" dirty="0"/>
              <a:t>Common Pitfalls:</a:t>
            </a:r>
          </a:p>
          <a:p>
            <a:pPr marL="285750" indent="-285750">
              <a:buFont typeface="Arial" panose="020B0604020202020204" pitchFamily="34" charset="0"/>
              <a:buChar char="•"/>
            </a:pPr>
            <a:r>
              <a:rPr lang="en-IE" sz="1400" dirty="0"/>
              <a:t>Delayed identification of key participants inhibits the ability to have the local staff work towards common objectives.</a:t>
            </a:r>
          </a:p>
          <a:p>
            <a:pPr marL="285750" indent="-285750">
              <a:buFont typeface="Arial" panose="020B0604020202020204" pitchFamily="34" charset="0"/>
              <a:buChar char="•"/>
            </a:pPr>
            <a:r>
              <a:rPr lang="en-IE" sz="1400" dirty="0"/>
              <a:t>Poor communication regarding the purpose of TEOA creates uncertainty regarding the site’s ultimate goals (for example: “Why exactly are we doing this?”).Consequently, site staff is not ready to support change, and will not be an active player in the transformation.</a:t>
            </a:r>
          </a:p>
        </p:txBody>
      </p:sp>
      <p:pic>
        <p:nvPicPr>
          <p:cNvPr id="13" name="Graphic 12" descr="Warning">
            <a:extLst>
              <a:ext uri="{FF2B5EF4-FFF2-40B4-BE49-F238E27FC236}">
                <a16:creationId xmlns:a16="http://schemas.microsoft.com/office/drawing/2014/main" id="{FC85673A-1FC6-4829-9C60-9B06EE745E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028" y="5383106"/>
            <a:ext cx="631265" cy="631265"/>
          </a:xfrm>
          <a:prstGeom prst="rect">
            <a:avLst/>
          </a:prstGeom>
        </p:spPr>
      </p:pic>
      <p:grpSp>
        <p:nvGrpSpPr>
          <p:cNvPr id="14" name="Group 13">
            <a:extLst>
              <a:ext uri="{FF2B5EF4-FFF2-40B4-BE49-F238E27FC236}">
                <a16:creationId xmlns:a16="http://schemas.microsoft.com/office/drawing/2014/main" id="{784679FD-4C5D-4754-B59C-88D0971F8AF0}"/>
              </a:ext>
            </a:extLst>
          </p:cNvPr>
          <p:cNvGrpSpPr/>
          <p:nvPr/>
        </p:nvGrpSpPr>
        <p:grpSpPr>
          <a:xfrm>
            <a:off x="35768" y="6193279"/>
            <a:ext cx="1289135" cy="664721"/>
            <a:chOff x="8407400" y="5845092"/>
            <a:chExt cx="1289135" cy="672559"/>
          </a:xfrm>
        </p:grpSpPr>
        <p:pic>
          <p:nvPicPr>
            <p:cNvPr id="15" name="Graphic 14" descr="List">
              <a:hlinkClick r:id="rId9" action="ppaction://hlinksldjump"/>
              <a:extLst>
                <a:ext uri="{FF2B5EF4-FFF2-40B4-BE49-F238E27FC236}">
                  <a16:creationId xmlns:a16="http://schemas.microsoft.com/office/drawing/2014/main" id="{7682C682-9B7E-40AA-988D-59ECCFE52AB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57825" y="5845092"/>
              <a:ext cx="468725" cy="468725"/>
            </a:xfrm>
            <a:prstGeom prst="rect">
              <a:avLst/>
            </a:prstGeom>
          </p:spPr>
        </p:pic>
        <p:sp>
          <p:nvSpPr>
            <p:cNvPr id="16" name="Rectangle 15">
              <a:extLst>
                <a:ext uri="{FF2B5EF4-FFF2-40B4-BE49-F238E27FC236}">
                  <a16:creationId xmlns:a16="http://schemas.microsoft.com/office/drawing/2014/main" id="{CC039374-2490-48BF-8952-D0AFC93B4E80}"/>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17" name="Picture 16">
            <a:hlinkClick r:id="rId12" action="ppaction://hlinksldjump"/>
            <a:extLst>
              <a:ext uri="{FF2B5EF4-FFF2-40B4-BE49-F238E27FC236}">
                <a16:creationId xmlns:a16="http://schemas.microsoft.com/office/drawing/2014/main" id="{1A5990C5-61C6-448E-B3E0-34361D312D6D}"/>
              </a:ext>
            </a:extLst>
          </p:cNvPr>
          <p:cNvPicPr>
            <a:picLocks noChangeAspect="1"/>
          </p:cNvPicPr>
          <p:nvPr/>
        </p:nvPicPr>
        <p:blipFill>
          <a:blip r:embed="rId13"/>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4026461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BB23D-B1EA-40AA-B211-8D6978BBB5A5}"/>
              </a:ext>
            </a:extLst>
          </p:cNvPr>
          <p:cNvSpPr>
            <a:spLocks noGrp="1"/>
          </p:cNvSpPr>
          <p:nvPr>
            <p:ph type="title"/>
          </p:nvPr>
        </p:nvSpPr>
        <p:spPr>
          <a:xfrm>
            <a:off x="585468" y="194040"/>
            <a:ext cx="9829800" cy="457200"/>
          </a:xfrm>
        </p:spPr>
        <p:txBody>
          <a:bodyPr/>
          <a:lstStyle/>
          <a:p>
            <a:r>
              <a:rPr lang="en-IE" dirty="0"/>
              <a:t>Managing The Deployment – Kick-Off Meeting</a:t>
            </a:r>
          </a:p>
        </p:txBody>
      </p:sp>
      <p:sp>
        <p:nvSpPr>
          <p:cNvPr id="3" name="Content Placeholder 2">
            <a:extLst>
              <a:ext uri="{FF2B5EF4-FFF2-40B4-BE49-F238E27FC236}">
                <a16:creationId xmlns:a16="http://schemas.microsoft.com/office/drawing/2014/main" id="{857E1F43-C6A2-4FC8-9771-2DAE7A183B42}"/>
              </a:ext>
            </a:extLst>
          </p:cNvPr>
          <p:cNvSpPr>
            <a:spLocks noGrp="1"/>
          </p:cNvSpPr>
          <p:nvPr>
            <p:ph idx="10"/>
          </p:nvPr>
        </p:nvSpPr>
        <p:spPr>
          <a:xfrm>
            <a:off x="392429" y="812101"/>
            <a:ext cx="11160000" cy="5426139"/>
          </a:xfrm>
        </p:spPr>
        <p:txBody>
          <a:bodyPr/>
          <a:lstStyle/>
          <a:p>
            <a:r>
              <a:rPr lang="en-IE" sz="1800" dirty="0"/>
              <a:t>Once a site is designated for TEOA deployment, a kick-off meeting should be held with senior site leadership. Required attendees include the Site Manager, as well as senior direct reports (for example: production managers / supervisors). </a:t>
            </a:r>
          </a:p>
          <a:p>
            <a:r>
              <a:rPr lang="en-IE" sz="1800" dirty="0"/>
              <a:t>The purpose of the meeting is to begin establishing a common understanding of TEOA, the transformation process, and the different phases.</a:t>
            </a:r>
          </a:p>
          <a:p>
            <a:pPr marL="285750" indent="-285750">
              <a:buFont typeface="Arial" panose="020B0604020202020204" pitchFamily="34" charset="0"/>
              <a:buChar char="•"/>
            </a:pPr>
            <a:r>
              <a:rPr lang="en-IE" dirty="0"/>
              <a:t>Expectations for the site’s senior leadership include:</a:t>
            </a:r>
          </a:p>
          <a:p>
            <a:pPr marL="742950" lvl="1" indent="-285750"/>
            <a:r>
              <a:rPr lang="en-IE" dirty="0"/>
              <a:t>Accept responsibility to lead transformation program integration into the operating culture</a:t>
            </a:r>
          </a:p>
          <a:p>
            <a:pPr marL="742950" lvl="1" indent="-285750"/>
            <a:r>
              <a:rPr lang="en-IE" dirty="0"/>
              <a:t>Develop direct report goals and assign champions for specific deployment elements starting with the Fundamental.</a:t>
            </a:r>
          </a:p>
          <a:p>
            <a:pPr marL="742950" lvl="1" indent="-285750"/>
            <a:r>
              <a:rPr lang="en-IE" dirty="0"/>
              <a:t>Reinforce use of TEOA transformation tools and commitment to continuous problem solving and improvement</a:t>
            </a:r>
          </a:p>
          <a:p>
            <a:pPr marL="742950" lvl="1" indent="-285750"/>
            <a:r>
              <a:rPr lang="en-IE" dirty="0"/>
              <a:t> Establish strong, visible presence to drive change – both physical and cultural, assisting direct reports with site walkthroughs and observations</a:t>
            </a:r>
          </a:p>
          <a:p>
            <a:pPr marL="742950" lvl="1" indent="-285750"/>
            <a:r>
              <a:rPr lang="en-IE" dirty="0"/>
              <a:t>Quantify detailed goals to support the overall organization’s business goals</a:t>
            </a:r>
          </a:p>
          <a:p>
            <a:pPr marL="742950" lvl="1" indent="-285750"/>
            <a:endParaRPr lang="en-IE" dirty="0"/>
          </a:p>
          <a:p>
            <a:pPr marL="0" lvl="1" indent="0">
              <a:buNone/>
            </a:pPr>
            <a:r>
              <a:rPr lang="en-IE" sz="2000" b="1" dirty="0"/>
              <a:t>Output</a:t>
            </a:r>
          </a:p>
          <a:p>
            <a:pPr marL="342900" indent="-342900">
              <a:buFont typeface="Arial" panose="020B0604020202020204" pitchFamily="34" charset="0"/>
              <a:buChar char="•"/>
            </a:pPr>
            <a:r>
              <a:rPr lang="en-IE" sz="2200" b="1" dirty="0"/>
              <a:t>Senior leadership team’s commitment to play an active role in the transformation initiative</a:t>
            </a:r>
          </a:p>
        </p:txBody>
      </p:sp>
      <p:grpSp>
        <p:nvGrpSpPr>
          <p:cNvPr id="5" name="Group 4">
            <a:extLst>
              <a:ext uri="{FF2B5EF4-FFF2-40B4-BE49-F238E27FC236}">
                <a16:creationId xmlns:a16="http://schemas.microsoft.com/office/drawing/2014/main" id="{66E666EB-939C-413B-9518-4592FF0503C9}"/>
              </a:ext>
            </a:extLst>
          </p:cNvPr>
          <p:cNvGrpSpPr/>
          <p:nvPr/>
        </p:nvGrpSpPr>
        <p:grpSpPr>
          <a:xfrm>
            <a:off x="35768" y="6193279"/>
            <a:ext cx="1289135" cy="664721"/>
            <a:chOff x="8407400" y="5845092"/>
            <a:chExt cx="1289135" cy="672559"/>
          </a:xfrm>
        </p:grpSpPr>
        <p:pic>
          <p:nvPicPr>
            <p:cNvPr id="7" name="Graphic 6" descr="List">
              <a:hlinkClick r:id="rId2" action="ppaction://hlinksldjump"/>
              <a:extLst>
                <a:ext uri="{FF2B5EF4-FFF2-40B4-BE49-F238E27FC236}">
                  <a16:creationId xmlns:a16="http://schemas.microsoft.com/office/drawing/2014/main" id="{F79825ED-7068-4FB4-A8FF-97AEFA2E03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8" name="Rectangle 7">
              <a:extLst>
                <a:ext uri="{FF2B5EF4-FFF2-40B4-BE49-F238E27FC236}">
                  <a16:creationId xmlns:a16="http://schemas.microsoft.com/office/drawing/2014/main" id="{36AB11CF-9DE3-45EF-945D-6DFB2E59CCE4}"/>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9" name="Picture 8">
            <a:hlinkClick r:id="rId5" action="ppaction://hlinksldjump"/>
            <a:extLst>
              <a:ext uri="{FF2B5EF4-FFF2-40B4-BE49-F238E27FC236}">
                <a16:creationId xmlns:a16="http://schemas.microsoft.com/office/drawing/2014/main" id="{29CD54D3-A8E2-4A2E-AA6D-3551CC104CC7}"/>
              </a:ext>
            </a:extLst>
          </p:cNvPr>
          <p:cNvPicPr>
            <a:picLocks noChangeAspect="1"/>
          </p:cNvPicPr>
          <p:nvPr/>
        </p:nvPicPr>
        <p:blipFill>
          <a:blip r:embed="rId6"/>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41989628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BB23D-B1EA-40AA-B211-8D6978BBB5A5}"/>
              </a:ext>
            </a:extLst>
          </p:cNvPr>
          <p:cNvSpPr>
            <a:spLocks noGrp="1"/>
          </p:cNvSpPr>
          <p:nvPr>
            <p:ph type="title"/>
          </p:nvPr>
        </p:nvSpPr>
        <p:spPr>
          <a:xfrm>
            <a:off x="585468" y="194040"/>
            <a:ext cx="9829800" cy="457200"/>
          </a:xfrm>
        </p:spPr>
        <p:txBody>
          <a:bodyPr/>
          <a:lstStyle/>
          <a:p>
            <a:r>
              <a:rPr lang="en-IE" dirty="0"/>
              <a:t>Managing The Deployment – Key Site Participants</a:t>
            </a:r>
          </a:p>
        </p:txBody>
      </p:sp>
      <p:sp>
        <p:nvSpPr>
          <p:cNvPr id="3" name="Content Placeholder 2">
            <a:extLst>
              <a:ext uri="{FF2B5EF4-FFF2-40B4-BE49-F238E27FC236}">
                <a16:creationId xmlns:a16="http://schemas.microsoft.com/office/drawing/2014/main" id="{857E1F43-C6A2-4FC8-9771-2DAE7A183B42}"/>
              </a:ext>
            </a:extLst>
          </p:cNvPr>
          <p:cNvSpPr>
            <a:spLocks noGrp="1"/>
          </p:cNvSpPr>
          <p:nvPr>
            <p:ph idx="10"/>
          </p:nvPr>
        </p:nvSpPr>
        <p:spPr>
          <a:xfrm>
            <a:off x="230600" y="651240"/>
            <a:ext cx="11730800" cy="5948030"/>
          </a:xfrm>
        </p:spPr>
        <p:txBody>
          <a:bodyPr/>
          <a:lstStyle/>
          <a:p>
            <a:pPr marL="285750" indent="-285750">
              <a:buFont typeface="Arial" panose="020B0604020202020204" pitchFamily="34" charset="0"/>
              <a:buChar char="•"/>
            </a:pPr>
            <a:r>
              <a:rPr lang="en-IE" sz="2000" dirty="0"/>
              <a:t>Work with the Site Manager to identify key site employees to take ownership of the deployment process.</a:t>
            </a:r>
          </a:p>
          <a:p>
            <a:pPr marL="285750" indent="-285750">
              <a:buFont typeface="Arial" panose="020B0604020202020204" pitchFamily="34" charset="0"/>
              <a:buChar char="•"/>
            </a:pPr>
            <a:r>
              <a:rPr lang="en-IE" sz="2000" dirty="0"/>
              <a:t>These employees include local change agents and champions. </a:t>
            </a:r>
          </a:p>
          <a:p>
            <a:pPr marL="285750" indent="-285750">
              <a:buFont typeface="Arial" panose="020B0604020202020204" pitchFamily="34" charset="0"/>
              <a:buChar char="•"/>
            </a:pPr>
            <a:r>
              <a:rPr lang="en-IE" sz="2000" dirty="0"/>
              <a:t>It is the responsibility of the change agent to steer the overall deployment process and to assist with implementation. </a:t>
            </a:r>
          </a:p>
          <a:p>
            <a:pPr marL="285750" indent="-285750">
              <a:buFont typeface="Arial" panose="020B0604020202020204" pitchFamily="34" charset="0"/>
              <a:buChar char="•"/>
            </a:pPr>
            <a:r>
              <a:rPr lang="en-IE" sz="2000" dirty="0"/>
              <a:t>Change agents must possess the ability to drive implementation at the site level, including structuring problems for analysis and motivating and training operational (hourly and salaried) employees. </a:t>
            </a:r>
          </a:p>
          <a:p>
            <a:pPr marL="285750" indent="-285750">
              <a:buFont typeface="Arial" panose="020B0604020202020204" pitchFamily="34" charset="0"/>
              <a:buChar char="•"/>
            </a:pPr>
            <a:r>
              <a:rPr lang="en-IE" sz="2000" dirty="0"/>
              <a:t>It is also critical to select individuals with substantial credibility in their home site. </a:t>
            </a:r>
          </a:p>
          <a:p>
            <a:pPr marL="285750" indent="-285750">
              <a:buFont typeface="Arial" panose="020B0604020202020204" pitchFamily="34" charset="0"/>
              <a:buChar char="•"/>
            </a:pPr>
            <a:r>
              <a:rPr lang="en-IE" sz="2000" dirty="0"/>
              <a:t>Possible sources include supervisors and functional experts (for example: quality, procurement, materials planning, logistics and engineering). </a:t>
            </a:r>
          </a:p>
          <a:p>
            <a:pPr marL="285750" indent="-285750">
              <a:buFont typeface="Arial" panose="020B0604020202020204" pitchFamily="34" charset="0"/>
              <a:buChar char="•"/>
            </a:pPr>
            <a:r>
              <a:rPr lang="en-IE" sz="2000" dirty="0"/>
              <a:t>Site champions must exhibit similar characteristics to change agents, and they own the implementation of approved initiatives. Ideally, champions exhibit a progressive, change focused track record in existing or previous roles. </a:t>
            </a:r>
          </a:p>
          <a:p>
            <a:pPr marL="285750" indent="-285750">
              <a:buFont typeface="Arial" panose="020B0604020202020204" pitchFamily="34" charset="0"/>
              <a:buChar char="•"/>
            </a:pPr>
            <a:r>
              <a:rPr lang="en-IE" sz="2000" dirty="0"/>
              <a:t>All team members must be actively engaged and willing to support the site champions and change agents</a:t>
            </a:r>
            <a:endParaRPr lang="en-IE" sz="2400" b="1" dirty="0"/>
          </a:p>
        </p:txBody>
      </p:sp>
      <p:grpSp>
        <p:nvGrpSpPr>
          <p:cNvPr id="4" name="Group 3">
            <a:extLst>
              <a:ext uri="{FF2B5EF4-FFF2-40B4-BE49-F238E27FC236}">
                <a16:creationId xmlns:a16="http://schemas.microsoft.com/office/drawing/2014/main" id="{1A6F09F8-35BC-4D09-AEEB-1044548C0818}"/>
              </a:ext>
            </a:extLst>
          </p:cNvPr>
          <p:cNvGrpSpPr/>
          <p:nvPr/>
        </p:nvGrpSpPr>
        <p:grpSpPr>
          <a:xfrm>
            <a:off x="35768" y="6193279"/>
            <a:ext cx="1289135" cy="664721"/>
            <a:chOff x="8407400" y="5845092"/>
            <a:chExt cx="1289135" cy="672559"/>
          </a:xfrm>
        </p:grpSpPr>
        <p:pic>
          <p:nvPicPr>
            <p:cNvPr id="5" name="Graphic 4" descr="List">
              <a:hlinkClick r:id="rId2" action="ppaction://hlinksldjump"/>
              <a:extLst>
                <a:ext uri="{FF2B5EF4-FFF2-40B4-BE49-F238E27FC236}">
                  <a16:creationId xmlns:a16="http://schemas.microsoft.com/office/drawing/2014/main" id="{F9CC2E56-0C10-4AB1-B349-757194BF21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6" name="Rectangle 5">
              <a:extLst>
                <a:ext uri="{FF2B5EF4-FFF2-40B4-BE49-F238E27FC236}">
                  <a16:creationId xmlns:a16="http://schemas.microsoft.com/office/drawing/2014/main" id="{EE8C7052-67D2-4323-95B6-5AD4F383A3A2}"/>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7" name="Picture 6">
            <a:hlinkClick r:id="rId5" action="ppaction://hlinksldjump"/>
            <a:extLst>
              <a:ext uri="{FF2B5EF4-FFF2-40B4-BE49-F238E27FC236}">
                <a16:creationId xmlns:a16="http://schemas.microsoft.com/office/drawing/2014/main" id="{BDE92FED-3122-4363-9A12-4C66A62F2F43}"/>
              </a:ext>
            </a:extLst>
          </p:cNvPr>
          <p:cNvPicPr>
            <a:picLocks noChangeAspect="1"/>
          </p:cNvPicPr>
          <p:nvPr/>
        </p:nvPicPr>
        <p:blipFill>
          <a:blip r:embed="rId6"/>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39491413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BB23D-B1EA-40AA-B211-8D6978BBB5A5}"/>
              </a:ext>
            </a:extLst>
          </p:cNvPr>
          <p:cNvSpPr>
            <a:spLocks noGrp="1"/>
          </p:cNvSpPr>
          <p:nvPr>
            <p:ph type="title"/>
          </p:nvPr>
        </p:nvSpPr>
        <p:spPr>
          <a:xfrm>
            <a:off x="585468" y="194040"/>
            <a:ext cx="9829800" cy="457200"/>
          </a:xfrm>
        </p:spPr>
        <p:txBody>
          <a:bodyPr/>
          <a:lstStyle/>
          <a:p>
            <a:r>
              <a:rPr lang="en-IE" dirty="0"/>
              <a:t>Managing The Deployment – Develop Guiding Principles</a:t>
            </a:r>
          </a:p>
        </p:txBody>
      </p:sp>
      <p:sp>
        <p:nvSpPr>
          <p:cNvPr id="3" name="Content Placeholder 2">
            <a:extLst>
              <a:ext uri="{FF2B5EF4-FFF2-40B4-BE49-F238E27FC236}">
                <a16:creationId xmlns:a16="http://schemas.microsoft.com/office/drawing/2014/main" id="{857E1F43-C6A2-4FC8-9771-2DAE7A183B42}"/>
              </a:ext>
            </a:extLst>
          </p:cNvPr>
          <p:cNvSpPr>
            <a:spLocks noGrp="1"/>
          </p:cNvSpPr>
          <p:nvPr>
            <p:ph idx="10"/>
          </p:nvPr>
        </p:nvSpPr>
        <p:spPr>
          <a:xfrm>
            <a:off x="215896" y="1069165"/>
            <a:ext cx="8592824" cy="5146390"/>
          </a:xfrm>
        </p:spPr>
        <p:txBody>
          <a:bodyPr/>
          <a:lstStyle/>
          <a:p>
            <a:pPr marL="342900" indent="-342900">
              <a:buFont typeface="Arial" panose="020B0604020202020204" pitchFamily="34" charset="0"/>
              <a:buChar char="•"/>
            </a:pPr>
            <a:r>
              <a:rPr lang="en-IE" sz="2300" dirty="0"/>
              <a:t>Developing guiding principles is a critical first step prior to any lean transformation. </a:t>
            </a:r>
          </a:p>
          <a:p>
            <a:pPr marL="342900" indent="-342900">
              <a:buFont typeface="Arial" panose="020B0604020202020204" pitchFamily="34" charset="0"/>
              <a:buChar char="•"/>
            </a:pPr>
            <a:r>
              <a:rPr lang="en-IE" sz="2300" dirty="0"/>
              <a:t>The key is not just to have guiding principles but to develop these guiding principles as a TEAM. </a:t>
            </a:r>
          </a:p>
          <a:p>
            <a:pPr marL="342900" indent="-342900">
              <a:buFont typeface="Arial" panose="020B0604020202020204" pitchFamily="34" charset="0"/>
              <a:buChar char="•"/>
            </a:pPr>
            <a:r>
              <a:rPr lang="en-IE" sz="2300" dirty="0"/>
              <a:t>This is so important to get not only buy-in and involvement but also for continuity in the event that team members change. </a:t>
            </a:r>
          </a:p>
          <a:p>
            <a:pPr marL="342900" indent="-342900">
              <a:buFont typeface="Arial" panose="020B0604020202020204" pitchFamily="34" charset="0"/>
              <a:buChar char="•"/>
            </a:pPr>
            <a:r>
              <a:rPr lang="en-IE" sz="2300" dirty="0"/>
              <a:t>The guiding principles should serve as “</a:t>
            </a:r>
            <a:r>
              <a:rPr lang="en-IE" sz="2300" b="1" dirty="0"/>
              <a:t>true north</a:t>
            </a:r>
            <a:r>
              <a:rPr lang="en-IE" sz="2300" dirty="0"/>
              <a:t>” and all improvement opportunities and future state designs should be in sync with the defined guiding principles. </a:t>
            </a:r>
          </a:p>
          <a:p>
            <a:pPr marL="342900" indent="-342900">
              <a:buFont typeface="Arial" panose="020B0604020202020204" pitchFamily="34" charset="0"/>
              <a:buChar char="•"/>
            </a:pPr>
            <a:r>
              <a:rPr lang="en-IE" sz="2300" dirty="0"/>
              <a:t>For more information on guiding principles and some examples that have been used across TE please refer to the Guiding Principles module on the </a:t>
            </a:r>
            <a:r>
              <a:rPr lang="en-IE" sz="2300" dirty="0">
                <a:hlinkClick r:id="rId2"/>
              </a:rPr>
              <a:t>TEOA ACADEMY</a:t>
            </a:r>
            <a:r>
              <a:rPr lang="en-IE" sz="2300" dirty="0"/>
              <a:t>.</a:t>
            </a:r>
            <a:endParaRPr lang="en-IE" sz="2300" b="1" dirty="0"/>
          </a:p>
        </p:txBody>
      </p:sp>
      <p:pic>
        <p:nvPicPr>
          <p:cNvPr id="5" name="Picture 4">
            <a:extLst>
              <a:ext uri="{FF2B5EF4-FFF2-40B4-BE49-F238E27FC236}">
                <a16:creationId xmlns:a16="http://schemas.microsoft.com/office/drawing/2014/main" id="{73639D2C-43E9-4096-8F39-E955B81ECDE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808720" y="2072640"/>
            <a:ext cx="2941320" cy="2941320"/>
          </a:xfrm>
          <a:prstGeom prst="rect">
            <a:avLst/>
          </a:prstGeom>
        </p:spPr>
      </p:pic>
      <p:grpSp>
        <p:nvGrpSpPr>
          <p:cNvPr id="6" name="Group 5">
            <a:extLst>
              <a:ext uri="{FF2B5EF4-FFF2-40B4-BE49-F238E27FC236}">
                <a16:creationId xmlns:a16="http://schemas.microsoft.com/office/drawing/2014/main" id="{D2AD75CF-EA79-4A51-8F7F-F542C7480A06}"/>
              </a:ext>
            </a:extLst>
          </p:cNvPr>
          <p:cNvGrpSpPr/>
          <p:nvPr/>
        </p:nvGrpSpPr>
        <p:grpSpPr>
          <a:xfrm>
            <a:off x="35768" y="6193279"/>
            <a:ext cx="1289135" cy="664721"/>
            <a:chOff x="8407400" y="5845092"/>
            <a:chExt cx="1289135" cy="672559"/>
          </a:xfrm>
        </p:grpSpPr>
        <p:pic>
          <p:nvPicPr>
            <p:cNvPr id="7" name="Graphic 6" descr="List">
              <a:hlinkClick r:id="rId5" action="ppaction://hlinksldjump"/>
              <a:extLst>
                <a:ext uri="{FF2B5EF4-FFF2-40B4-BE49-F238E27FC236}">
                  <a16:creationId xmlns:a16="http://schemas.microsoft.com/office/drawing/2014/main" id="{010E21D2-8A07-4961-B2FE-3482CF0F4D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57825" y="5845092"/>
              <a:ext cx="468725" cy="468725"/>
            </a:xfrm>
            <a:prstGeom prst="rect">
              <a:avLst/>
            </a:prstGeom>
          </p:spPr>
        </p:pic>
        <p:sp>
          <p:nvSpPr>
            <p:cNvPr id="8" name="Rectangle 7">
              <a:extLst>
                <a:ext uri="{FF2B5EF4-FFF2-40B4-BE49-F238E27FC236}">
                  <a16:creationId xmlns:a16="http://schemas.microsoft.com/office/drawing/2014/main" id="{28EFCB2D-198F-462D-8812-0B35758A4E0A}"/>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9" name="Picture 8">
            <a:hlinkClick r:id="rId8" action="ppaction://hlinksldjump"/>
            <a:extLst>
              <a:ext uri="{FF2B5EF4-FFF2-40B4-BE49-F238E27FC236}">
                <a16:creationId xmlns:a16="http://schemas.microsoft.com/office/drawing/2014/main" id="{24C7D282-74AF-4F49-B4B8-F7B3BD129C4C}"/>
              </a:ext>
            </a:extLst>
          </p:cNvPr>
          <p:cNvPicPr>
            <a:picLocks noChangeAspect="1"/>
          </p:cNvPicPr>
          <p:nvPr/>
        </p:nvPicPr>
        <p:blipFill>
          <a:blip r:embed="rId9"/>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36004781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95FA48-BBE1-4738-B070-9A8D28CAD178}"/>
              </a:ext>
            </a:extLst>
          </p:cNvPr>
          <p:cNvSpPr>
            <a:spLocks noGrp="1"/>
          </p:cNvSpPr>
          <p:nvPr>
            <p:ph type="ctrTitle"/>
          </p:nvPr>
        </p:nvSpPr>
        <p:spPr/>
        <p:txBody>
          <a:bodyPr/>
          <a:lstStyle/>
          <a:p>
            <a:br>
              <a:rPr lang="en-GB" dirty="0"/>
            </a:br>
            <a:r>
              <a:rPr lang="en-GB" dirty="0"/>
              <a:t>Fundamental Element Implementation</a:t>
            </a:r>
          </a:p>
        </p:txBody>
      </p:sp>
      <p:sp>
        <p:nvSpPr>
          <p:cNvPr id="2" name="Subtitle 1">
            <a:extLst>
              <a:ext uri="{FF2B5EF4-FFF2-40B4-BE49-F238E27FC236}">
                <a16:creationId xmlns:a16="http://schemas.microsoft.com/office/drawing/2014/main" id="{57293B78-A754-4EF7-873B-BD516E25D7DC}"/>
              </a:ext>
            </a:extLst>
          </p:cNvPr>
          <p:cNvSpPr>
            <a:spLocks noGrp="1"/>
          </p:cNvSpPr>
          <p:nvPr>
            <p:ph type="subTitle" idx="1"/>
          </p:nvPr>
        </p:nvSpPr>
        <p:spPr/>
        <p:txBody>
          <a:bodyPr/>
          <a:lstStyle/>
          <a:p>
            <a:r>
              <a:rPr lang="en-GB" i="1" dirty="0"/>
              <a:t>This chapter cover the topics associated with the fundamental elements of EH&amp;S, Quality Foundations, 5s &amp; Visual Management, TPM and PIM</a:t>
            </a:r>
          </a:p>
        </p:txBody>
      </p:sp>
      <p:grpSp>
        <p:nvGrpSpPr>
          <p:cNvPr id="5" name="Group 4">
            <a:extLst>
              <a:ext uri="{FF2B5EF4-FFF2-40B4-BE49-F238E27FC236}">
                <a16:creationId xmlns:a16="http://schemas.microsoft.com/office/drawing/2014/main" id="{8E51761F-7D9E-4CFB-8736-34926B99924A}"/>
              </a:ext>
            </a:extLst>
          </p:cNvPr>
          <p:cNvGrpSpPr/>
          <p:nvPr/>
        </p:nvGrpSpPr>
        <p:grpSpPr>
          <a:xfrm>
            <a:off x="9764559" y="6200532"/>
            <a:ext cx="1289135" cy="664721"/>
            <a:chOff x="8407400" y="5845092"/>
            <a:chExt cx="1289135" cy="672559"/>
          </a:xfrm>
        </p:grpSpPr>
        <p:pic>
          <p:nvPicPr>
            <p:cNvPr id="6" name="Graphic 5" descr="List">
              <a:hlinkClick r:id="rId2" action="ppaction://hlinksldjump"/>
              <a:extLst>
                <a:ext uri="{FF2B5EF4-FFF2-40B4-BE49-F238E27FC236}">
                  <a16:creationId xmlns:a16="http://schemas.microsoft.com/office/drawing/2014/main" id="{93CD4D9B-6125-493C-B352-1CF7CC05C7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7" name="Rectangle 6">
              <a:extLst>
                <a:ext uri="{FF2B5EF4-FFF2-40B4-BE49-F238E27FC236}">
                  <a16:creationId xmlns:a16="http://schemas.microsoft.com/office/drawing/2014/main" id="{6BD4C257-1716-4A36-B016-7D2A60457E39}"/>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8" name="Picture 7">
            <a:hlinkClick r:id="rId5" action="ppaction://hlinksldjump"/>
            <a:extLst>
              <a:ext uri="{FF2B5EF4-FFF2-40B4-BE49-F238E27FC236}">
                <a16:creationId xmlns:a16="http://schemas.microsoft.com/office/drawing/2014/main" id="{92D9D985-4F6C-4616-BA3E-2ACBDBF7CC6B}"/>
              </a:ext>
            </a:extLst>
          </p:cNvPr>
          <p:cNvPicPr>
            <a:picLocks noChangeAspect="1"/>
          </p:cNvPicPr>
          <p:nvPr/>
        </p:nvPicPr>
        <p:blipFill>
          <a:blip r:embed="rId6"/>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5062753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BB23D-B1EA-40AA-B211-8D6978BBB5A5}"/>
              </a:ext>
            </a:extLst>
          </p:cNvPr>
          <p:cNvSpPr>
            <a:spLocks noGrp="1"/>
          </p:cNvSpPr>
          <p:nvPr>
            <p:ph type="title"/>
          </p:nvPr>
        </p:nvSpPr>
        <p:spPr>
          <a:xfrm>
            <a:off x="585468" y="194040"/>
            <a:ext cx="9829800" cy="457200"/>
          </a:xfrm>
        </p:spPr>
        <p:txBody>
          <a:bodyPr/>
          <a:lstStyle/>
          <a:p>
            <a:r>
              <a:rPr lang="en-GB" dirty="0"/>
              <a:t>Fundamental Element Implementation</a:t>
            </a:r>
            <a:endParaRPr lang="en-IE" dirty="0"/>
          </a:p>
        </p:txBody>
      </p:sp>
      <p:sp>
        <p:nvSpPr>
          <p:cNvPr id="3" name="Content Placeholder 2">
            <a:extLst>
              <a:ext uri="{FF2B5EF4-FFF2-40B4-BE49-F238E27FC236}">
                <a16:creationId xmlns:a16="http://schemas.microsoft.com/office/drawing/2014/main" id="{857E1F43-C6A2-4FC8-9771-2DAE7A183B42}"/>
              </a:ext>
            </a:extLst>
          </p:cNvPr>
          <p:cNvSpPr>
            <a:spLocks noGrp="1"/>
          </p:cNvSpPr>
          <p:nvPr>
            <p:ph idx="10"/>
          </p:nvPr>
        </p:nvSpPr>
        <p:spPr>
          <a:xfrm>
            <a:off x="585468" y="781328"/>
            <a:ext cx="11318038" cy="2945228"/>
          </a:xfrm>
        </p:spPr>
        <p:txBody>
          <a:bodyPr/>
          <a:lstStyle/>
          <a:p>
            <a:r>
              <a:rPr lang="en-IE" sz="2400" dirty="0"/>
              <a:t>At the start of any lean journey, it is important to first establish some fundamentals. These fundamentals should be cantered on </a:t>
            </a:r>
            <a:r>
              <a:rPr lang="en-IE" sz="2400" b="1" dirty="0"/>
              <a:t>building stability </a:t>
            </a:r>
            <a:r>
              <a:rPr lang="en-IE" sz="2400" dirty="0"/>
              <a:t>within your site, creating the capabilities to improve in the future, and forming the discipline to sustain improvement.</a:t>
            </a:r>
          </a:p>
          <a:p>
            <a:endParaRPr lang="en-IE" sz="2400" dirty="0"/>
          </a:p>
          <a:p>
            <a:r>
              <a:rPr lang="en-IE" sz="2400" dirty="0"/>
              <a:t>In TEOA there are </a:t>
            </a:r>
            <a:r>
              <a:rPr lang="en-IE" sz="2400" b="1" dirty="0"/>
              <a:t>five fundamental elements </a:t>
            </a:r>
            <a:r>
              <a:rPr lang="en-IE" sz="2400" dirty="0"/>
              <a:t>and they are located at </a:t>
            </a:r>
            <a:r>
              <a:rPr lang="en-IE" sz="2400" b="1" dirty="0"/>
              <a:t>Star level 1 </a:t>
            </a:r>
            <a:r>
              <a:rPr lang="en-IE" sz="2400" dirty="0"/>
              <a:t>in the TEOA House;</a:t>
            </a:r>
          </a:p>
          <a:p>
            <a:pPr marL="342900" indent="-342900">
              <a:buFont typeface="Arial" panose="020B0604020202020204" pitchFamily="34" charset="0"/>
              <a:buChar char="•"/>
            </a:pPr>
            <a:r>
              <a:rPr lang="en-IE" sz="2000" dirty="0"/>
              <a:t>Environmental Health &amp; Safety (EH&amp;S)</a:t>
            </a:r>
          </a:p>
          <a:p>
            <a:pPr marL="342900" indent="-342900">
              <a:buFont typeface="Arial" panose="020B0604020202020204" pitchFamily="34" charset="0"/>
              <a:buChar char="•"/>
            </a:pPr>
            <a:r>
              <a:rPr lang="en-IE" sz="2000" dirty="0"/>
              <a:t>Quality Foundations (Fast Response &amp; QMS)</a:t>
            </a:r>
          </a:p>
          <a:p>
            <a:pPr marL="342900" indent="-342900">
              <a:buFont typeface="Arial" panose="020B0604020202020204" pitchFamily="34" charset="0"/>
              <a:buChar char="•"/>
            </a:pPr>
            <a:r>
              <a:rPr lang="en-IE" sz="2000" dirty="0"/>
              <a:t>5S &amp; Visual Management</a:t>
            </a:r>
          </a:p>
          <a:p>
            <a:pPr marL="342900" indent="-342900">
              <a:buFont typeface="Arial" panose="020B0604020202020204" pitchFamily="34" charset="0"/>
              <a:buChar char="•"/>
            </a:pPr>
            <a:r>
              <a:rPr lang="en-IE" sz="2000" dirty="0"/>
              <a:t>Total Productive Maintenance (TPM)</a:t>
            </a:r>
          </a:p>
          <a:p>
            <a:pPr marL="342900" indent="-342900">
              <a:buFont typeface="Arial" panose="020B0604020202020204" pitchFamily="34" charset="0"/>
              <a:buChar char="•"/>
            </a:pPr>
            <a:r>
              <a:rPr lang="en-IE" sz="2000" dirty="0"/>
              <a:t>Process Improvement Management (PIM)</a:t>
            </a:r>
          </a:p>
          <a:p>
            <a:endParaRPr lang="en-IE" sz="2400" dirty="0"/>
          </a:p>
        </p:txBody>
      </p:sp>
      <p:pic>
        <p:nvPicPr>
          <p:cNvPr id="89" name="Picture 88">
            <a:extLst>
              <a:ext uri="{FF2B5EF4-FFF2-40B4-BE49-F238E27FC236}">
                <a16:creationId xmlns:a16="http://schemas.microsoft.com/office/drawing/2014/main" id="{0788963F-E2C9-489B-B95A-602FD712278E}"/>
              </a:ext>
            </a:extLst>
          </p:cNvPr>
          <p:cNvPicPr>
            <a:picLocks noChangeAspect="1"/>
          </p:cNvPicPr>
          <p:nvPr/>
        </p:nvPicPr>
        <p:blipFill>
          <a:blip r:embed="rId2"/>
          <a:stretch>
            <a:fillRect/>
          </a:stretch>
        </p:blipFill>
        <p:spPr>
          <a:xfrm>
            <a:off x="6095999" y="3429000"/>
            <a:ext cx="5788654" cy="2722100"/>
          </a:xfrm>
          <a:prstGeom prst="rect">
            <a:avLst/>
          </a:prstGeom>
        </p:spPr>
      </p:pic>
      <p:grpSp>
        <p:nvGrpSpPr>
          <p:cNvPr id="90" name="Group 89">
            <a:extLst>
              <a:ext uri="{FF2B5EF4-FFF2-40B4-BE49-F238E27FC236}">
                <a16:creationId xmlns:a16="http://schemas.microsoft.com/office/drawing/2014/main" id="{24C30904-3BD4-49A0-8BCA-12A15002E690}"/>
              </a:ext>
            </a:extLst>
          </p:cNvPr>
          <p:cNvGrpSpPr/>
          <p:nvPr/>
        </p:nvGrpSpPr>
        <p:grpSpPr>
          <a:xfrm>
            <a:off x="35768" y="6193279"/>
            <a:ext cx="1289135" cy="664721"/>
            <a:chOff x="8407400" y="5845092"/>
            <a:chExt cx="1289135" cy="672559"/>
          </a:xfrm>
        </p:grpSpPr>
        <p:pic>
          <p:nvPicPr>
            <p:cNvPr id="91" name="Graphic 90" descr="List">
              <a:hlinkClick r:id="rId3" action="ppaction://hlinksldjump"/>
              <a:extLst>
                <a:ext uri="{FF2B5EF4-FFF2-40B4-BE49-F238E27FC236}">
                  <a16:creationId xmlns:a16="http://schemas.microsoft.com/office/drawing/2014/main" id="{10801CD5-CE27-46BE-B7C3-52FE0FA5DE4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57825" y="5845092"/>
              <a:ext cx="468725" cy="468725"/>
            </a:xfrm>
            <a:prstGeom prst="rect">
              <a:avLst/>
            </a:prstGeom>
          </p:spPr>
        </p:pic>
        <p:sp>
          <p:nvSpPr>
            <p:cNvPr id="92" name="Rectangle 91">
              <a:extLst>
                <a:ext uri="{FF2B5EF4-FFF2-40B4-BE49-F238E27FC236}">
                  <a16:creationId xmlns:a16="http://schemas.microsoft.com/office/drawing/2014/main" id="{D8DD81E4-1C2C-44E5-BA3D-BEAFDEB3774C}"/>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93" name="Picture 92">
            <a:hlinkClick r:id="rId6" action="ppaction://hlinksldjump"/>
            <a:extLst>
              <a:ext uri="{FF2B5EF4-FFF2-40B4-BE49-F238E27FC236}">
                <a16:creationId xmlns:a16="http://schemas.microsoft.com/office/drawing/2014/main" id="{30FA3B8F-7831-486D-ADEB-8EF716E69E35}"/>
              </a:ext>
            </a:extLst>
          </p:cNvPr>
          <p:cNvPicPr>
            <a:picLocks noChangeAspect="1"/>
          </p:cNvPicPr>
          <p:nvPr/>
        </p:nvPicPr>
        <p:blipFill>
          <a:blip r:embed="rId7"/>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3123574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E39CB8D-CACE-48AD-B636-A90307520CD3}"/>
              </a:ext>
            </a:extLst>
          </p:cNvPr>
          <p:cNvGraphicFramePr>
            <a:graphicFrameLocks noGrp="1"/>
          </p:cNvGraphicFramePr>
          <p:nvPr>
            <p:ph idx="10"/>
            <p:extLst>
              <p:ext uri="{D42A27DB-BD31-4B8C-83A1-F6EECF244321}">
                <p14:modId xmlns:p14="http://schemas.microsoft.com/office/powerpoint/2010/main" val="148639845"/>
              </p:ext>
            </p:extLst>
          </p:nvPr>
        </p:nvGraphicFramePr>
        <p:xfrm>
          <a:off x="167840" y="830163"/>
          <a:ext cx="11863739" cy="4896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a:extLst>
              <a:ext uri="{FF2B5EF4-FFF2-40B4-BE49-F238E27FC236}">
                <a16:creationId xmlns:a16="http://schemas.microsoft.com/office/drawing/2014/main" id="{A649AB6D-8F07-4B46-9028-D7FBE94FD4F3}"/>
              </a:ext>
            </a:extLst>
          </p:cNvPr>
          <p:cNvSpPr>
            <a:spLocks noGrp="1"/>
          </p:cNvSpPr>
          <p:nvPr>
            <p:ph type="title"/>
          </p:nvPr>
        </p:nvSpPr>
        <p:spPr>
          <a:xfrm>
            <a:off x="514350" y="230335"/>
            <a:ext cx="9829800" cy="457200"/>
          </a:xfrm>
        </p:spPr>
        <p:txBody>
          <a:bodyPr/>
          <a:lstStyle/>
          <a:p>
            <a:r>
              <a:rPr lang="en-GB" dirty="0"/>
              <a:t>Fundamental Element Implementation</a:t>
            </a:r>
            <a:endParaRPr lang="en-IE" dirty="0"/>
          </a:p>
        </p:txBody>
      </p:sp>
      <p:pic>
        <p:nvPicPr>
          <p:cNvPr id="6" name="Graphic 5" descr="Speech">
            <a:extLst>
              <a:ext uri="{FF2B5EF4-FFF2-40B4-BE49-F238E27FC236}">
                <a16:creationId xmlns:a16="http://schemas.microsoft.com/office/drawing/2014/main" id="{0D5D6C16-D7C0-4117-8231-B655AC6DF8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4974" y="5869660"/>
            <a:ext cx="641150" cy="641150"/>
          </a:xfrm>
          <a:prstGeom prst="rect">
            <a:avLst/>
          </a:prstGeom>
        </p:spPr>
      </p:pic>
      <p:sp>
        <p:nvSpPr>
          <p:cNvPr id="7" name="TextBox 6">
            <a:extLst>
              <a:ext uri="{FF2B5EF4-FFF2-40B4-BE49-F238E27FC236}">
                <a16:creationId xmlns:a16="http://schemas.microsoft.com/office/drawing/2014/main" id="{7063803F-8E6B-41EB-BCC8-4A9A4E31E7D1}"/>
              </a:ext>
            </a:extLst>
          </p:cNvPr>
          <p:cNvSpPr txBox="1"/>
          <p:nvPr/>
        </p:nvSpPr>
        <p:spPr>
          <a:xfrm>
            <a:off x="1456124" y="6005569"/>
            <a:ext cx="93989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Click each header above to view the relevant playbook for more information on the </a:t>
            </a:r>
            <a:r>
              <a:rPr lang="en-GB" dirty="0">
                <a:solidFill>
                  <a:srgbClr val="666666"/>
                </a:solidFill>
                <a:latin typeface="Arial"/>
              </a:rPr>
              <a:t>subject</a:t>
            </a:r>
            <a:endParaRPr kumimoji="0" lang="en-GB" sz="1800" b="0" i="0" u="none" strike="noStrike" kern="1200" cap="none" spc="0" normalizeH="0" baseline="0" noProof="0" dirty="0">
              <a:ln>
                <a:noFill/>
              </a:ln>
              <a:solidFill>
                <a:srgbClr val="666666"/>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A7A6A190-973A-4CB1-A98A-8A008D5FE202}"/>
              </a:ext>
            </a:extLst>
          </p:cNvPr>
          <p:cNvGrpSpPr/>
          <p:nvPr/>
        </p:nvGrpSpPr>
        <p:grpSpPr>
          <a:xfrm>
            <a:off x="35768" y="6193279"/>
            <a:ext cx="1289135" cy="664721"/>
            <a:chOff x="8407400" y="5845092"/>
            <a:chExt cx="1289135" cy="672559"/>
          </a:xfrm>
        </p:grpSpPr>
        <p:pic>
          <p:nvPicPr>
            <p:cNvPr id="9" name="Graphic 8" descr="List">
              <a:hlinkClick r:id="rId10" action="ppaction://hlinksldjump"/>
              <a:extLst>
                <a:ext uri="{FF2B5EF4-FFF2-40B4-BE49-F238E27FC236}">
                  <a16:creationId xmlns:a16="http://schemas.microsoft.com/office/drawing/2014/main" id="{92756E7C-265C-4AC8-8C80-E1CEB69E55C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57825" y="5845092"/>
              <a:ext cx="468725" cy="468725"/>
            </a:xfrm>
            <a:prstGeom prst="rect">
              <a:avLst/>
            </a:prstGeom>
          </p:spPr>
        </p:pic>
        <p:sp>
          <p:nvSpPr>
            <p:cNvPr id="10" name="Rectangle 9">
              <a:extLst>
                <a:ext uri="{FF2B5EF4-FFF2-40B4-BE49-F238E27FC236}">
                  <a16:creationId xmlns:a16="http://schemas.microsoft.com/office/drawing/2014/main" id="{E9E46664-8E21-48D8-B5E1-077FBE3C5DF5}"/>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11" name="Picture 10">
            <a:hlinkClick r:id="rId13" action="ppaction://hlinksldjump"/>
            <a:extLst>
              <a:ext uri="{FF2B5EF4-FFF2-40B4-BE49-F238E27FC236}">
                <a16:creationId xmlns:a16="http://schemas.microsoft.com/office/drawing/2014/main" id="{90D8607E-6815-4C4C-8C4D-6095F6ADCF62}"/>
              </a:ext>
            </a:extLst>
          </p:cNvPr>
          <p:cNvPicPr>
            <a:picLocks noChangeAspect="1"/>
          </p:cNvPicPr>
          <p:nvPr/>
        </p:nvPicPr>
        <p:blipFill>
          <a:blip r:embed="rId14"/>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2022252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E4D57-3C25-4855-B245-FE9B01E7E53F}"/>
              </a:ext>
            </a:extLst>
          </p:cNvPr>
          <p:cNvSpPr>
            <a:spLocks noGrp="1"/>
          </p:cNvSpPr>
          <p:nvPr>
            <p:ph type="title"/>
          </p:nvPr>
        </p:nvSpPr>
        <p:spPr>
          <a:xfrm>
            <a:off x="514349" y="198620"/>
            <a:ext cx="9829800" cy="457200"/>
          </a:xfrm>
        </p:spPr>
        <p:txBody>
          <a:bodyPr/>
          <a:lstStyle/>
          <a:p>
            <a:r>
              <a:rPr lang="en-IE" dirty="0"/>
              <a:t>BUILDING CAPABILITIES – DEVELOPING YOUR PEOPLE</a:t>
            </a:r>
          </a:p>
        </p:txBody>
      </p:sp>
      <p:sp>
        <p:nvSpPr>
          <p:cNvPr id="3" name="Content Placeholder 2">
            <a:extLst>
              <a:ext uri="{FF2B5EF4-FFF2-40B4-BE49-F238E27FC236}">
                <a16:creationId xmlns:a16="http://schemas.microsoft.com/office/drawing/2014/main" id="{092A1086-A0D7-4910-ADFA-408B82296AF0}"/>
              </a:ext>
            </a:extLst>
          </p:cNvPr>
          <p:cNvSpPr>
            <a:spLocks noGrp="1"/>
          </p:cNvSpPr>
          <p:nvPr>
            <p:ph idx="10"/>
          </p:nvPr>
        </p:nvSpPr>
        <p:spPr>
          <a:xfrm>
            <a:off x="516000" y="934021"/>
            <a:ext cx="11160000" cy="4989957"/>
          </a:xfrm>
        </p:spPr>
        <p:txBody>
          <a:bodyPr/>
          <a:lstStyle/>
          <a:p>
            <a:pPr marL="342900" indent="-342900">
              <a:buFont typeface="Arial" panose="020B0604020202020204" pitchFamily="34" charset="0"/>
              <a:buChar char="•"/>
            </a:pPr>
            <a:r>
              <a:rPr lang="en-IE" sz="2200" dirty="0"/>
              <a:t>Lean </a:t>
            </a:r>
            <a:r>
              <a:rPr lang="en-IE" sz="2200" b="1" dirty="0"/>
              <a:t>deployments are difficult</a:t>
            </a:r>
            <a:r>
              <a:rPr lang="en-IE" sz="2200" dirty="0"/>
              <a:t>, and one of the most common reasons that they fail is because companies do not have the discipline to persevere or they fail to put enough emphasis on developing the </a:t>
            </a:r>
            <a:r>
              <a:rPr lang="en-IE" sz="2200" b="1" dirty="0"/>
              <a:t>necessary capabilities within their workforce </a:t>
            </a:r>
            <a:r>
              <a:rPr lang="en-IE" sz="2200" dirty="0"/>
              <a:t>to implement and sustain improvements. </a:t>
            </a:r>
          </a:p>
          <a:p>
            <a:pPr marL="342900" indent="-342900">
              <a:buFont typeface="Arial" panose="020B0604020202020204" pitchFamily="34" charset="0"/>
              <a:buChar char="•"/>
            </a:pPr>
            <a:r>
              <a:rPr lang="en-IE" sz="2200" dirty="0"/>
              <a:t>TE recognized this from the beginnings of TEOA, and realized that the only way to truly get to world class performance, is to fundamentally change </a:t>
            </a:r>
            <a:r>
              <a:rPr lang="en-IE" sz="2200" b="1" dirty="0"/>
              <a:t>the mindset and culture </a:t>
            </a:r>
            <a:r>
              <a:rPr lang="en-IE" sz="2200" dirty="0"/>
              <a:t>within the organization. </a:t>
            </a:r>
          </a:p>
          <a:p>
            <a:pPr marL="342900" indent="-342900">
              <a:buFont typeface="Arial" panose="020B0604020202020204" pitchFamily="34" charset="0"/>
              <a:buChar char="•"/>
            </a:pPr>
            <a:r>
              <a:rPr lang="en-IE" sz="2200" dirty="0"/>
              <a:t>TEOA is not just the responsibility of a select, few people. It requires complete buy-in at all levels of the organization. And to take it a step further, TEOA not only requires buy-in, but it also needs </a:t>
            </a:r>
            <a:r>
              <a:rPr lang="en-IE" sz="2200" b="1" dirty="0"/>
              <a:t>active participation from everyone </a:t>
            </a:r>
            <a:r>
              <a:rPr lang="en-IE" sz="2200" dirty="0"/>
              <a:t>involved in a lean deployment and transformation.</a:t>
            </a:r>
          </a:p>
          <a:p>
            <a:pPr marL="342900" indent="-342900">
              <a:buFont typeface="Arial" panose="020B0604020202020204" pitchFamily="34" charset="0"/>
              <a:buChar char="•"/>
            </a:pPr>
            <a:r>
              <a:rPr lang="en-IE" sz="2200" dirty="0"/>
              <a:t>For more information regarding developing people refer to the </a:t>
            </a:r>
            <a:r>
              <a:rPr lang="en-IE" sz="2200" dirty="0">
                <a:hlinkClick r:id="rId2"/>
              </a:rPr>
              <a:t>Talent Development Playbook</a:t>
            </a:r>
            <a:endParaRPr lang="en-IE" sz="2200" dirty="0"/>
          </a:p>
        </p:txBody>
      </p:sp>
    </p:spTree>
    <p:extLst>
      <p:ext uri="{BB962C8B-B14F-4D97-AF65-F5344CB8AC3E}">
        <p14:creationId xmlns:p14="http://schemas.microsoft.com/office/powerpoint/2010/main" val="1469734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B8338-15AA-4399-AF76-59E48222E344}"/>
              </a:ext>
            </a:extLst>
          </p:cNvPr>
          <p:cNvSpPr>
            <a:spLocks noGrp="1"/>
          </p:cNvSpPr>
          <p:nvPr>
            <p:ph type="title"/>
          </p:nvPr>
        </p:nvSpPr>
        <p:spPr>
          <a:xfrm>
            <a:off x="1117599" y="162158"/>
            <a:ext cx="9334415" cy="457200"/>
          </a:xfrm>
        </p:spPr>
        <p:txBody>
          <a:bodyPr/>
          <a:lstStyle/>
          <a:p>
            <a:r>
              <a:rPr lang="en-GB" dirty="0"/>
              <a:t>Using the Create Stability &amp; Culture Playbook – What do the Icons Mean?</a:t>
            </a:r>
          </a:p>
        </p:txBody>
      </p:sp>
      <p:grpSp>
        <p:nvGrpSpPr>
          <p:cNvPr id="118" name="Group 117">
            <a:extLst>
              <a:ext uri="{FF2B5EF4-FFF2-40B4-BE49-F238E27FC236}">
                <a16:creationId xmlns:a16="http://schemas.microsoft.com/office/drawing/2014/main" id="{044CB2AB-45E6-46B2-9610-197C326EE609}"/>
              </a:ext>
            </a:extLst>
          </p:cNvPr>
          <p:cNvGrpSpPr/>
          <p:nvPr/>
        </p:nvGrpSpPr>
        <p:grpSpPr>
          <a:xfrm>
            <a:off x="35768" y="6193279"/>
            <a:ext cx="1289135" cy="664721"/>
            <a:chOff x="8407400" y="5845092"/>
            <a:chExt cx="1289135" cy="672559"/>
          </a:xfrm>
        </p:grpSpPr>
        <p:pic>
          <p:nvPicPr>
            <p:cNvPr id="119" name="Graphic 118" descr="List">
              <a:extLst>
                <a:ext uri="{FF2B5EF4-FFF2-40B4-BE49-F238E27FC236}">
                  <a16:creationId xmlns:a16="http://schemas.microsoft.com/office/drawing/2014/main" id="{363096E2-6558-4CD8-AFDA-29C8D2297F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120" name="Rectangle 119">
              <a:extLst>
                <a:ext uri="{FF2B5EF4-FFF2-40B4-BE49-F238E27FC236}">
                  <a16:creationId xmlns:a16="http://schemas.microsoft.com/office/drawing/2014/main" id="{CB66D116-7BDC-41DA-B5FC-5B6BB93DC4A9}"/>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sp>
        <p:nvSpPr>
          <p:cNvPr id="124" name="TextBox 123">
            <a:extLst>
              <a:ext uri="{FF2B5EF4-FFF2-40B4-BE49-F238E27FC236}">
                <a16:creationId xmlns:a16="http://schemas.microsoft.com/office/drawing/2014/main" id="{F2049703-E345-446E-A609-D9F462C3F8AE}"/>
              </a:ext>
            </a:extLst>
          </p:cNvPr>
          <p:cNvSpPr txBox="1"/>
          <p:nvPr/>
        </p:nvSpPr>
        <p:spPr>
          <a:xfrm>
            <a:off x="1531433" y="5501580"/>
            <a:ext cx="378858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Click on the agenda icon to return to the agenda for the current phase </a:t>
            </a:r>
          </a:p>
        </p:txBody>
      </p:sp>
      <p:sp>
        <p:nvSpPr>
          <p:cNvPr id="125" name="TextBox 124">
            <a:extLst>
              <a:ext uri="{FF2B5EF4-FFF2-40B4-BE49-F238E27FC236}">
                <a16:creationId xmlns:a16="http://schemas.microsoft.com/office/drawing/2014/main" id="{361C29C5-B17F-4168-94E1-F80E473B264D}"/>
              </a:ext>
            </a:extLst>
          </p:cNvPr>
          <p:cNvSpPr txBox="1"/>
          <p:nvPr/>
        </p:nvSpPr>
        <p:spPr>
          <a:xfrm>
            <a:off x="7311605" y="5685846"/>
            <a:ext cx="28041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Click on the Chart Icon to return to the main page</a:t>
            </a:r>
          </a:p>
        </p:txBody>
      </p:sp>
      <p:cxnSp>
        <p:nvCxnSpPr>
          <p:cNvPr id="126" name="Straight Arrow Connector 125">
            <a:extLst>
              <a:ext uri="{FF2B5EF4-FFF2-40B4-BE49-F238E27FC236}">
                <a16:creationId xmlns:a16="http://schemas.microsoft.com/office/drawing/2014/main" id="{C192F083-1D84-4524-A8C1-40B8EAF9BC47}"/>
              </a:ext>
            </a:extLst>
          </p:cNvPr>
          <p:cNvCxnSpPr>
            <a:cxnSpLocks/>
            <a:stCxn id="124" idx="1"/>
            <a:endCxn id="119" idx="0"/>
          </p:cNvCxnSpPr>
          <p:nvPr/>
        </p:nvCxnSpPr>
        <p:spPr>
          <a:xfrm flipH="1">
            <a:off x="620556" y="5824746"/>
            <a:ext cx="910877" cy="368533"/>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5EE2B3AB-81A9-4247-BD8E-CF4CFF6C4D47}"/>
              </a:ext>
            </a:extLst>
          </p:cNvPr>
          <p:cNvPicPr>
            <a:picLocks noChangeAspect="1"/>
          </p:cNvPicPr>
          <p:nvPr/>
        </p:nvPicPr>
        <p:blipFill>
          <a:blip r:embed="rId5"/>
          <a:stretch>
            <a:fillRect/>
          </a:stretch>
        </p:blipFill>
        <p:spPr>
          <a:xfrm>
            <a:off x="6654913" y="1914799"/>
            <a:ext cx="634039" cy="634039"/>
          </a:xfrm>
          <a:prstGeom prst="rect">
            <a:avLst/>
          </a:prstGeom>
        </p:spPr>
      </p:pic>
      <p:sp>
        <p:nvSpPr>
          <p:cNvPr id="23" name="TextBox 22">
            <a:extLst>
              <a:ext uri="{FF2B5EF4-FFF2-40B4-BE49-F238E27FC236}">
                <a16:creationId xmlns:a16="http://schemas.microsoft.com/office/drawing/2014/main" id="{1A7A1CCD-FBD6-4477-B96E-B4BFFD154834}"/>
              </a:ext>
            </a:extLst>
          </p:cNvPr>
          <p:cNvSpPr txBox="1"/>
          <p:nvPr/>
        </p:nvSpPr>
        <p:spPr>
          <a:xfrm>
            <a:off x="7621251" y="1631653"/>
            <a:ext cx="382896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66666"/>
                </a:solidFill>
                <a:effectLst/>
                <a:uLnTx/>
                <a:uFillTx/>
                <a:latin typeface="Arial"/>
                <a:ea typeface="+mn-ea"/>
                <a:cs typeface="+mn-cs"/>
              </a:rPr>
              <a:t>Where this Icon is visible refers to a point of information on the subject, linking to additional Playbooks or Training materials for example</a:t>
            </a:r>
          </a:p>
        </p:txBody>
      </p:sp>
      <p:cxnSp>
        <p:nvCxnSpPr>
          <p:cNvPr id="24" name="Straight Arrow Connector 23">
            <a:extLst>
              <a:ext uri="{FF2B5EF4-FFF2-40B4-BE49-F238E27FC236}">
                <a16:creationId xmlns:a16="http://schemas.microsoft.com/office/drawing/2014/main" id="{409C19D6-C683-4920-82FA-4E20FBBFBBC2}"/>
              </a:ext>
            </a:extLst>
          </p:cNvPr>
          <p:cNvCxnSpPr>
            <a:cxnSpLocks/>
            <a:stCxn id="23" idx="1"/>
            <a:endCxn id="6" idx="3"/>
          </p:cNvCxnSpPr>
          <p:nvPr/>
        </p:nvCxnSpPr>
        <p:spPr>
          <a:xfrm flipH="1">
            <a:off x="7288952" y="2231818"/>
            <a:ext cx="332299"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26" name="Graphic 25" descr="Warning">
            <a:extLst>
              <a:ext uri="{FF2B5EF4-FFF2-40B4-BE49-F238E27FC236}">
                <a16:creationId xmlns:a16="http://schemas.microsoft.com/office/drawing/2014/main" id="{0B3CD08D-A066-4FF4-AF53-8967A35367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2030" y="3043498"/>
            <a:ext cx="631265" cy="631265"/>
          </a:xfrm>
          <a:prstGeom prst="rect">
            <a:avLst/>
          </a:prstGeom>
        </p:spPr>
      </p:pic>
      <p:sp>
        <p:nvSpPr>
          <p:cNvPr id="27" name="TextBox 26">
            <a:extLst>
              <a:ext uri="{FF2B5EF4-FFF2-40B4-BE49-F238E27FC236}">
                <a16:creationId xmlns:a16="http://schemas.microsoft.com/office/drawing/2014/main" id="{7B76138D-9D88-4EC1-AF47-2D190B2DD590}"/>
              </a:ext>
            </a:extLst>
          </p:cNvPr>
          <p:cNvSpPr txBox="1"/>
          <p:nvPr/>
        </p:nvSpPr>
        <p:spPr>
          <a:xfrm>
            <a:off x="1661704" y="3035964"/>
            <a:ext cx="34090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66666"/>
                </a:solidFill>
                <a:effectLst/>
                <a:uLnTx/>
                <a:uFillTx/>
                <a:latin typeface="Arial"/>
                <a:ea typeface="+mn-ea"/>
                <a:cs typeface="+mn-cs"/>
              </a:rPr>
              <a:t>Where this Icon is visible refers to a special Note on the subject</a:t>
            </a:r>
          </a:p>
        </p:txBody>
      </p:sp>
      <p:cxnSp>
        <p:nvCxnSpPr>
          <p:cNvPr id="28" name="Straight Arrow Connector 27">
            <a:extLst>
              <a:ext uri="{FF2B5EF4-FFF2-40B4-BE49-F238E27FC236}">
                <a16:creationId xmlns:a16="http://schemas.microsoft.com/office/drawing/2014/main" id="{B8922269-A5C9-4A70-8CE4-81EEFE07A93C}"/>
              </a:ext>
            </a:extLst>
          </p:cNvPr>
          <p:cNvCxnSpPr>
            <a:cxnSpLocks/>
            <a:stCxn id="27" idx="1"/>
            <a:endCxn id="26" idx="3"/>
          </p:cNvCxnSpPr>
          <p:nvPr/>
        </p:nvCxnSpPr>
        <p:spPr>
          <a:xfrm flipH="1">
            <a:off x="1273295" y="3359130"/>
            <a:ext cx="388409"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5" name="Graphic 34" descr="Speech">
            <a:extLst>
              <a:ext uri="{FF2B5EF4-FFF2-40B4-BE49-F238E27FC236}">
                <a16:creationId xmlns:a16="http://schemas.microsoft.com/office/drawing/2014/main" id="{CD055068-16CD-4A06-928D-2B28CB3D25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2030" y="1911136"/>
            <a:ext cx="641150" cy="641150"/>
          </a:xfrm>
          <a:prstGeom prst="rect">
            <a:avLst/>
          </a:prstGeom>
        </p:spPr>
      </p:pic>
      <p:sp>
        <p:nvSpPr>
          <p:cNvPr id="36" name="TextBox 35">
            <a:extLst>
              <a:ext uri="{FF2B5EF4-FFF2-40B4-BE49-F238E27FC236}">
                <a16:creationId xmlns:a16="http://schemas.microsoft.com/office/drawing/2014/main" id="{9EB51E87-CC0C-4E81-8151-260D2054E8F2}"/>
              </a:ext>
            </a:extLst>
          </p:cNvPr>
          <p:cNvSpPr txBox="1"/>
          <p:nvPr/>
        </p:nvSpPr>
        <p:spPr>
          <a:xfrm>
            <a:off x="1649090" y="1908652"/>
            <a:ext cx="34090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66666"/>
                </a:solidFill>
                <a:effectLst/>
                <a:uLnTx/>
                <a:uFillTx/>
                <a:latin typeface="Arial"/>
                <a:ea typeface="+mn-ea"/>
                <a:cs typeface="+mn-cs"/>
              </a:rPr>
              <a:t>Where this Icon is visible refers to a Tip / help</a:t>
            </a:r>
          </a:p>
        </p:txBody>
      </p:sp>
      <p:cxnSp>
        <p:nvCxnSpPr>
          <p:cNvPr id="37" name="Straight Arrow Connector 36">
            <a:extLst>
              <a:ext uri="{FF2B5EF4-FFF2-40B4-BE49-F238E27FC236}">
                <a16:creationId xmlns:a16="http://schemas.microsoft.com/office/drawing/2014/main" id="{45346EA8-A1B6-4EBB-B433-501825BB4013}"/>
              </a:ext>
            </a:extLst>
          </p:cNvPr>
          <p:cNvCxnSpPr>
            <a:cxnSpLocks/>
            <a:stCxn id="36" idx="1"/>
          </p:cNvCxnSpPr>
          <p:nvPr/>
        </p:nvCxnSpPr>
        <p:spPr>
          <a:xfrm flipH="1">
            <a:off x="1260681" y="2231818"/>
            <a:ext cx="388409"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950C02AF-740C-40AA-BFE5-FC249C1A5AA6}"/>
              </a:ext>
            </a:extLst>
          </p:cNvPr>
          <p:cNvPicPr>
            <a:picLocks noChangeAspect="1"/>
          </p:cNvPicPr>
          <p:nvPr/>
        </p:nvPicPr>
        <p:blipFill>
          <a:blip r:embed="rId10"/>
          <a:stretch>
            <a:fillRect/>
          </a:stretch>
        </p:blipFill>
        <p:spPr>
          <a:xfrm>
            <a:off x="11297560" y="6263453"/>
            <a:ext cx="820810" cy="462128"/>
          </a:xfrm>
          <a:prstGeom prst="rect">
            <a:avLst/>
          </a:prstGeom>
        </p:spPr>
      </p:pic>
      <p:cxnSp>
        <p:nvCxnSpPr>
          <p:cNvPr id="33" name="Straight Arrow Connector 32">
            <a:extLst>
              <a:ext uri="{FF2B5EF4-FFF2-40B4-BE49-F238E27FC236}">
                <a16:creationId xmlns:a16="http://schemas.microsoft.com/office/drawing/2014/main" id="{65B18D82-83FC-488D-8286-7C04FED6C854}"/>
              </a:ext>
            </a:extLst>
          </p:cNvPr>
          <p:cNvCxnSpPr>
            <a:cxnSpLocks/>
          </p:cNvCxnSpPr>
          <p:nvPr/>
        </p:nvCxnSpPr>
        <p:spPr>
          <a:xfrm>
            <a:off x="10115773" y="5894920"/>
            <a:ext cx="1136754" cy="368533"/>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4589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2EF3E-3BD5-49F5-AC92-C3CC865640E4}"/>
              </a:ext>
            </a:extLst>
          </p:cNvPr>
          <p:cNvSpPr>
            <a:spLocks noGrp="1"/>
          </p:cNvSpPr>
          <p:nvPr>
            <p:ph type="title"/>
          </p:nvPr>
        </p:nvSpPr>
        <p:spPr>
          <a:xfrm>
            <a:off x="514350" y="241150"/>
            <a:ext cx="9829800" cy="457200"/>
          </a:xfrm>
        </p:spPr>
        <p:txBody>
          <a:bodyPr/>
          <a:lstStyle/>
          <a:p>
            <a:r>
              <a:rPr lang="en-IE" dirty="0"/>
              <a:t>BUILDING CAPABILITIES – Key Roles</a:t>
            </a:r>
          </a:p>
        </p:txBody>
      </p:sp>
      <p:graphicFrame>
        <p:nvGraphicFramePr>
          <p:cNvPr id="4" name="Content Placeholder 3">
            <a:extLst>
              <a:ext uri="{FF2B5EF4-FFF2-40B4-BE49-F238E27FC236}">
                <a16:creationId xmlns:a16="http://schemas.microsoft.com/office/drawing/2014/main" id="{DF704106-8E14-452E-ABAA-39D91C920BE6}"/>
              </a:ext>
            </a:extLst>
          </p:cNvPr>
          <p:cNvGraphicFramePr>
            <a:graphicFrameLocks noGrp="1"/>
          </p:cNvGraphicFramePr>
          <p:nvPr>
            <p:ph idx="10"/>
            <p:extLst>
              <p:ext uri="{D42A27DB-BD31-4B8C-83A1-F6EECF244321}">
                <p14:modId xmlns:p14="http://schemas.microsoft.com/office/powerpoint/2010/main" val="2780694169"/>
              </p:ext>
            </p:extLst>
          </p:nvPr>
        </p:nvGraphicFramePr>
        <p:xfrm>
          <a:off x="514350" y="934244"/>
          <a:ext cx="11160125" cy="4989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24137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137CD-A104-4969-B179-360284904B67}"/>
              </a:ext>
            </a:extLst>
          </p:cNvPr>
          <p:cNvSpPr>
            <a:spLocks noGrp="1"/>
          </p:cNvSpPr>
          <p:nvPr>
            <p:ph type="title"/>
          </p:nvPr>
        </p:nvSpPr>
        <p:spPr>
          <a:xfrm>
            <a:off x="514349" y="209253"/>
            <a:ext cx="9829800" cy="457200"/>
          </a:xfrm>
        </p:spPr>
        <p:txBody>
          <a:bodyPr/>
          <a:lstStyle/>
          <a:p>
            <a:r>
              <a:rPr lang="en-IE" dirty="0"/>
              <a:t>AVAILABLE RESOURCES</a:t>
            </a:r>
          </a:p>
        </p:txBody>
      </p:sp>
      <p:sp>
        <p:nvSpPr>
          <p:cNvPr id="3" name="Content Placeholder 2">
            <a:extLst>
              <a:ext uri="{FF2B5EF4-FFF2-40B4-BE49-F238E27FC236}">
                <a16:creationId xmlns:a16="http://schemas.microsoft.com/office/drawing/2014/main" id="{ED9E07AF-37F8-47F2-96F6-872B2D5C6EAC}"/>
              </a:ext>
            </a:extLst>
          </p:cNvPr>
          <p:cNvSpPr>
            <a:spLocks noGrp="1"/>
          </p:cNvSpPr>
          <p:nvPr>
            <p:ph idx="10"/>
          </p:nvPr>
        </p:nvSpPr>
        <p:spPr>
          <a:xfrm>
            <a:off x="516000" y="934021"/>
            <a:ext cx="11160000" cy="4989957"/>
          </a:xfrm>
        </p:spPr>
        <p:txBody>
          <a:bodyPr/>
          <a:lstStyle/>
          <a:p>
            <a:r>
              <a:rPr lang="en-IE" dirty="0"/>
              <a:t>There are a variety of resources available within TE to help with any aspect of the TEOA deployment &amp; transformation process:</a:t>
            </a:r>
          </a:p>
          <a:p>
            <a:r>
              <a:rPr lang="en-IE" dirty="0">
                <a:hlinkClick r:id="rId2"/>
              </a:rPr>
              <a:t>TEOA SharePoint</a:t>
            </a:r>
            <a:r>
              <a:rPr lang="en-IE" dirty="0"/>
              <a:t>: The TEOA SharePoint serves as the central repository for all things TEOA. Here you will find training calendars, training materials, best demonstrated practices, community blog, recommended reading material and plenty of other useful information and resources including TEOA personnel contact information.</a:t>
            </a:r>
          </a:p>
          <a:p>
            <a:endParaRPr lang="en-IE" dirty="0"/>
          </a:p>
          <a:p>
            <a:r>
              <a:rPr lang="en-IE" dirty="0">
                <a:hlinkClick r:id="rId3"/>
              </a:rPr>
              <a:t>TEOA Academy</a:t>
            </a:r>
            <a:r>
              <a:rPr lang="en-IE" dirty="0"/>
              <a:t>: The TEOA ACADEMY offers a collection of material for presentation in order to build technical knowledge and confidence. Training modules and handbooks detail each aspect of the global TEOA initiative in varying depths of knowledge and target specific audiences (for example: general operations personnel, shop floor supervisors and employees and senior site leadership).</a:t>
            </a:r>
          </a:p>
          <a:p>
            <a:endParaRPr lang="en-IE" dirty="0"/>
          </a:p>
          <a:p>
            <a:r>
              <a:rPr lang="en-IE" dirty="0">
                <a:hlinkClick r:id="rId4"/>
              </a:rPr>
              <a:t>TEOA Playbooks</a:t>
            </a:r>
            <a:r>
              <a:rPr lang="en-IE" dirty="0"/>
              <a:t>: Housed in the TEOA SharePoint is a repository for all available TEOA Operations playbooks for each of the different Star levels</a:t>
            </a:r>
          </a:p>
          <a:p>
            <a:endParaRPr lang="en-IE" dirty="0"/>
          </a:p>
          <a:p>
            <a:r>
              <a:rPr lang="en-IE" dirty="0">
                <a:hlinkClick r:id="rId5"/>
              </a:rPr>
              <a:t>LEARN@TE</a:t>
            </a:r>
            <a:r>
              <a:rPr lang="en-IE" dirty="0"/>
              <a:t>: Online Training system. Search for a topic to access information, training courses etc. </a:t>
            </a:r>
          </a:p>
        </p:txBody>
      </p:sp>
      <p:sp>
        <p:nvSpPr>
          <p:cNvPr id="4" name="Rectangle 3">
            <a:extLst>
              <a:ext uri="{FF2B5EF4-FFF2-40B4-BE49-F238E27FC236}">
                <a16:creationId xmlns:a16="http://schemas.microsoft.com/office/drawing/2014/main" id="{2F9E0781-3567-46CC-BE66-E5DB60E5EE4D}"/>
              </a:ext>
            </a:extLst>
          </p:cNvPr>
          <p:cNvSpPr/>
          <p:nvPr/>
        </p:nvSpPr>
        <p:spPr>
          <a:xfrm>
            <a:off x="2837352" y="6045290"/>
            <a:ext cx="596830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D202C"/>
                </a:solidFill>
                <a:effectLst/>
                <a:uLnTx/>
                <a:uFillTx/>
                <a:latin typeface="Arial"/>
                <a:ea typeface="+mn-ea"/>
                <a:cs typeface="+mn-cs"/>
              </a:rPr>
              <a:t>Note: Click on the links above to quickly access the topic</a:t>
            </a:r>
          </a:p>
        </p:txBody>
      </p:sp>
      <p:pic>
        <p:nvPicPr>
          <p:cNvPr id="5" name="Graphic 4" descr="Speech">
            <a:extLst>
              <a:ext uri="{FF2B5EF4-FFF2-40B4-BE49-F238E27FC236}">
                <a16:creationId xmlns:a16="http://schemas.microsoft.com/office/drawing/2014/main" id="{7E08BEF0-3A06-432C-BF9E-C79282AE6C2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38852" y="5880706"/>
            <a:ext cx="698500" cy="698500"/>
          </a:xfrm>
          <a:prstGeom prst="rect">
            <a:avLst/>
          </a:prstGeom>
        </p:spPr>
      </p:pic>
    </p:spTree>
    <p:extLst>
      <p:ext uri="{BB962C8B-B14F-4D97-AF65-F5344CB8AC3E}">
        <p14:creationId xmlns:p14="http://schemas.microsoft.com/office/powerpoint/2010/main" val="37318235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8BE78-5471-497C-8DE8-DF81CBD700D9}"/>
              </a:ext>
            </a:extLst>
          </p:cNvPr>
          <p:cNvSpPr>
            <a:spLocks noGrp="1"/>
          </p:cNvSpPr>
          <p:nvPr>
            <p:ph type="title"/>
          </p:nvPr>
        </p:nvSpPr>
        <p:spPr>
          <a:xfrm>
            <a:off x="631307" y="114300"/>
            <a:ext cx="9829800" cy="457200"/>
          </a:xfrm>
        </p:spPr>
        <p:txBody>
          <a:bodyPr/>
          <a:lstStyle/>
          <a:p>
            <a:r>
              <a:rPr lang="en-IE" dirty="0"/>
              <a:t>CONCLUSION</a:t>
            </a:r>
          </a:p>
        </p:txBody>
      </p:sp>
      <p:sp>
        <p:nvSpPr>
          <p:cNvPr id="3" name="Content Placeholder 2">
            <a:extLst>
              <a:ext uri="{FF2B5EF4-FFF2-40B4-BE49-F238E27FC236}">
                <a16:creationId xmlns:a16="http://schemas.microsoft.com/office/drawing/2014/main" id="{0A867024-DA87-46FC-B5AC-A4848C21F89C}"/>
              </a:ext>
            </a:extLst>
          </p:cNvPr>
          <p:cNvSpPr>
            <a:spLocks noGrp="1"/>
          </p:cNvSpPr>
          <p:nvPr>
            <p:ph idx="10"/>
          </p:nvPr>
        </p:nvSpPr>
        <p:spPr>
          <a:xfrm>
            <a:off x="631307" y="839343"/>
            <a:ext cx="11160000" cy="4989957"/>
          </a:xfrm>
        </p:spPr>
        <p:txBody>
          <a:bodyPr/>
          <a:lstStyle/>
          <a:p>
            <a:r>
              <a:rPr lang="en-IE" dirty="0"/>
              <a:t>While this handbook is not a prescriptive step by step guide on how to implement fundamentals or transform value streams within your site, it does provide a proven formula for beginning a TEOA deployment. </a:t>
            </a:r>
          </a:p>
          <a:p>
            <a:r>
              <a:rPr lang="en-IE" dirty="0"/>
              <a:t>The objective of this playbook aims to identify and answer two main questions: </a:t>
            </a:r>
          </a:p>
          <a:p>
            <a:pPr marL="285750" indent="-285750">
              <a:buFont typeface="Arial" panose="020B0604020202020204" pitchFamily="34" charset="0"/>
              <a:buChar char="•"/>
            </a:pPr>
            <a:r>
              <a:rPr lang="en-IE" dirty="0"/>
              <a:t>Where should I start? </a:t>
            </a:r>
          </a:p>
          <a:p>
            <a:pPr marL="285750" indent="-285750">
              <a:buFont typeface="Arial" panose="020B0604020202020204" pitchFamily="34" charset="0"/>
              <a:buChar char="•"/>
            </a:pPr>
            <a:r>
              <a:rPr lang="en-IE" dirty="0"/>
              <a:t>What resources and training materials are available to help me throughout my transformation? </a:t>
            </a:r>
          </a:p>
          <a:p>
            <a:r>
              <a:rPr lang="en-IE" dirty="0"/>
              <a:t>Shifting from a prescriptive tool by tool implementation approach to a true, lean value stream transformation focus, will allow sites to better align with “true north”. That is, focusing on the lean principles to ultimately create flow and implement pull across an entire value stream in order to create / enhance customer value. </a:t>
            </a:r>
          </a:p>
          <a:p>
            <a:r>
              <a:rPr lang="en-IE" dirty="0"/>
              <a:t>Lean transformations are doomed to fail without the proper support and buy-in from all layers of the organization; from the shop-floor to the senior management level, so it is critical to ensure all parties understand the guiding principles and objectives up front, prior to beginning your lean journey. </a:t>
            </a:r>
          </a:p>
          <a:p>
            <a:r>
              <a:rPr lang="en-IE" dirty="0"/>
              <a:t>There are plenty of resources available to help guide you through your transformation, including the TEOA Academy, which has been created and enhanced over the years by lessons learned from deployments across TE since the inception of TEOA. </a:t>
            </a:r>
          </a:p>
          <a:p>
            <a:r>
              <a:rPr lang="en-IE" dirty="0"/>
              <a:t>You are encouraged to get started! Learn by doing! And if you run into roadblocks, seek guidance, and of course, continue to improve!</a:t>
            </a:r>
          </a:p>
        </p:txBody>
      </p:sp>
    </p:spTree>
    <p:extLst>
      <p:ext uri="{BB962C8B-B14F-4D97-AF65-F5344CB8AC3E}">
        <p14:creationId xmlns:p14="http://schemas.microsoft.com/office/powerpoint/2010/main" val="18643601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B8338-15AA-4399-AF76-59E48222E344}"/>
              </a:ext>
            </a:extLst>
          </p:cNvPr>
          <p:cNvSpPr>
            <a:spLocks noGrp="1"/>
          </p:cNvSpPr>
          <p:nvPr>
            <p:ph type="title"/>
          </p:nvPr>
        </p:nvSpPr>
        <p:spPr>
          <a:xfrm>
            <a:off x="514348" y="162158"/>
            <a:ext cx="9625434" cy="457200"/>
          </a:xfrm>
        </p:spPr>
        <p:txBody>
          <a:bodyPr/>
          <a:lstStyle/>
          <a:p>
            <a:r>
              <a:rPr lang="en-GB"/>
              <a:t>TEOA – Operations Management System</a:t>
            </a:r>
          </a:p>
        </p:txBody>
      </p:sp>
      <p:sp>
        <p:nvSpPr>
          <p:cNvPr id="59" name="Isosceles Triangle 58">
            <a:extLst>
              <a:ext uri="{FF2B5EF4-FFF2-40B4-BE49-F238E27FC236}">
                <a16:creationId xmlns:a16="http://schemas.microsoft.com/office/drawing/2014/main" id="{07C9625D-7977-49C7-80C6-CB1BF8870426}"/>
              </a:ext>
            </a:extLst>
          </p:cNvPr>
          <p:cNvSpPr/>
          <p:nvPr/>
        </p:nvSpPr>
        <p:spPr>
          <a:xfrm>
            <a:off x="1627038" y="821443"/>
            <a:ext cx="8919264" cy="1477232"/>
          </a:xfrm>
          <a:prstGeom prst="triangl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3" name="Star: 5 Points 62">
            <a:extLst>
              <a:ext uri="{FF2B5EF4-FFF2-40B4-BE49-F238E27FC236}">
                <a16:creationId xmlns:a16="http://schemas.microsoft.com/office/drawing/2014/main" id="{5A7C5DFC-6CA1-4C8C-8910-88D2118139AE}"/>
              </a:ext>
            </a:extLst>
          </p:cNvPr>
          <p:cNvSpPr/>
          <p:nvPr/>
        </p:nvSpPr>
        <p:spPr>
          <a:xfrm>
            <a:off x="831213" y="2459164"/>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Star: 5 Points 63">
            <a:extLst>
              <a:ext uri="{FF2B5EF4-FFF2-40B4-BE49-F238E27FC236}">
                <a16:creationId xmlns:a16="http://schemas.microsoft.com/office/drawing/2014/main" id="{2B097C67-5D79-48F9-9E41-31CE2F0D5782}"/>
              </a:ext>
            </a:extLst>
          </p:cNvPr>
          <p:cNvSpPr/>
          <p:nvPr/>
        </p:nvSpPr>
        <p:spPr>
          <a:xfrm>
            <a:off x="370026" y="2154140"/>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 name="Star: 5 Points 64">
            <a:extLst>
              <a:ext uri="{FF2B5EF4-FFF2-40B4-BE49-F238E27FC236}">
                <a16:creationId xmlns:a16="http://schemas.microsoft.com/office/drawing/2014/main" id="{0DD72675-C5BA-43A0-A8CB-AB50D8B2D982}"/>
              </a:ext>
            </a:extLst>
          </p:cNvPr>
          <p:cNvSpPr/>
          <p:nvPr/>
        </p:nvSpPr>
        <p:spPr>
          <a:xfrm>
            <a:off x="679989" y="2154140"/>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Star: 5 Points 65">
            <a:extLst>
              <a:ext uri="{FF2B5EF4-FFF2-40B4-BE49-F238E27FC236}">
                <a16:creationId xmlns:a16="http://schemas.microsoft.com/office/drawing/2014/main" id="{F0C25B29-103E-4546-9E67-ADD165068550}"/>
              </a:ext>
            </a:extLst>
          </p:cNvPr>
          <p:cNvSpPr/>
          <p:nvPr/>
        </p:nvSpPr>
        <p:spPr>
          <a:xfrm>
            <a:off x="521249" y="2459164"/>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 name="Arrow: Right 66">
            <a:extLst>
              <a:ext uri="{FF2B5EF4-FFF2-40B4-BE49-F238E27FC236}">
                <a16:creationId xmlns:a16="http://schemas.microsoft.com/office/drawing/2014/main" id="{FA7D4FFD-FE74-4B08-8C07-C76EDE4E18AB}"/>
              </a:ext>
            </a:extLst>
          </p:cNvPr>
          <p:cNvSpPr/>
          <p:nvPr/>
        </p:nvSpPr>
        <p:spPr>
          <a:xfrm rot="16200000">
            <a:off x="-129517" y="3434267"/>
            <a:ext cx="1817620" cy="596888"/>
          </a:xfrm>
          <a:prstGeom prst="rightArrow">
            <a:avLst/>
          </a:prstGeom>
          <a:solidFill>
            <a:schemeClr val="tx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 name="Star: 5 Points 67">
            <a:extLst>
              <a:ext uri="{FF2B5EF4-FFF2-40B4-BE49-F238E27FC236}">
                <a16:creationId xmlns:a16="http://schemas.microsoft.com/office/drawing/2014/main" id="{5DD09078-C3BE-4A8B-8C5C-8B40580714E3}"/>
              </a:ext>
            </a:extLst>
          </p:cNvPr>
          <p:cNvSpPr/>
          <p:nvPr/>
        </p:nvSpPr>
        <p:spPr>
          <a:xfrm>
            <a:off x="650341" y="4742149"/>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Star: 5 Points 68">
            <a:extLst>
              <a:ext uri="{FF2B5EF4-FFF2-40B4-BE49-F238E27FC236}">
                <a16:creationId xmlns:a16="http://schemas.microsoft.com/office/drawing/2014/main" id="{A12EFAF8-A80C-4498-8AA6-53E809A82999}"/>
              </a:ext>
            </a:extLst>
          </p:cNvPr>
          <p:cNvSpPr/>
          <p:nvPr/>
        </p:nvSpPr>
        <p:spPr>
          <a:xfrm>
            <a:off x="960305" y="4742149"/>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 name="Star: 5 Points 69">
            <a:extLst>
              <a:ext uri="{FF2B5EF4-FFF2-40B4-BE49-F238E27FC236}">
                <a16:creationId xmlns:a16="http://schemas.microsoft.com/office/drawing/2014/main" id="{833F0F54-4066-4E26-804C-E827E343C5AA}"/>
              </a:ext>
            </a:extLst>
          </p:cNvPr>
          <p:cNvSpPr/>
          <p:nvPr/>
        </p:nvSpPr>
        <p:spPr>
          <a:xfrm>
            <a:off x="340377" y="4742149"/>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 name="Star: 5 Points 70">
            <a:extLst>
              <a:ext uri="{FF2B5EF4-FFF2-40B4-BE49-F238E27FC236}">
                <a16:creationId xmlns:a16="http://schemas.microsoft.com/office/drawing/2014/main" id="{A3BEFD8E-564F-4727-8691-2CEE73D6D9E8}"/>
              </a:ext>
            </a:extLst>
          </p:cNvPr>
          <p:cNvSpPr/>
          <p:nvPr/>
        </p:nvSpPr>
        <p:spPr>
          <a:xfrm>
            <a:off x="491931" y="5384131"/>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 name="Star: 5 Points 71">
            <a:extLst>
              <a:ext uri="{FF2B5EF4-FFF2-40B4-BE49-F238E27FC236}">
                <a16:creationId xmlns:a16="http://schemas.microsoft.com/office/drawing/2014/main" id="{B795FC56-FB60-4771-96C1-C82CEA6C7996}"/>
              </a:ext>
            </a:extLst>
          </p:cNvPr>
          <p:cNvSpPr/>
          <p:nvPr/>
        </p:nvSpPr>
        <p:spPr>
          <a:xfrm>
            <a:off x="801894" y="5384131"/>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4" name="Star: 5 Points 73">
            <a:extLst>
              <a:ext uri="{FF2B5EF4-FFF2-40B4-BE49-F238E27FC236}">
                <a16:creationId xmlns:a16="http://schemas.microsoft.com/office/drawing/2014/main" id="{B66D7B73-BA7F-4E79-ABC5-7F13777998BF}"/>
              </a:ext>
            </a:extLst>
          </p:cNvPr>
          <p:cNvSpPr/>
          <p:nvPr/>
        </p:nvSpPr>
        <p:spPr>
          <a:xfrm>
            <a:off x="652526" y="5944293"/>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5" name="Star: 5 Points 74">
            <a:extLst>
              <a:ext uri="{FF2B5EF4-FFF2-40B4-BE49-F238E27FC236}">
                <a16:creationId xmlns:a16="http://schemas.microsoft.com/office/drawing/2014/main" id="{3ED7618E-EEB7-4D1D-B4CF-5D2BE8F0E599}"/>
              </a:ext>
            </a:extLst>
          </p:cNvPr>
          <p:cNvSpPr/>
          <p:nvPr/>
        </p:nvSpPr>
        <p:spPr>
          <a:xfrm>
            <a:off x="974979" y="2154140"/>
            <a:ext cx="243889" cy="232855"/>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10E1BC2D-63CD-41A4-BF74-FACD4AE410A0}"/>
              </a:ext>
            </a:extLst>
          </p:cNvPr>
          <p:cNvSpPr/>
          <p:nvPr/>
        </p:nvSpPr>
        <p:spPr>
          <a:xfrm>
            <a:off x="1651622" y="2289923"/>
            <a:ext cx="8923255" cy="307380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90" name="Diagram 89">
            <a:extLst>
              <a:ext uri="{FF2B5EF4-FFF2-40B4-BE49-F238E27FC236}">
                <a16:creationId xmlns:a16="http://schemas.microsoft.com/office/drawing/2014/main" id="{1EDC56AD-9782-4597-B7C5-E42EB4A1A1C9}"/>
              </a:ext>
            </a:extLst>
          </p:cNvPr>
          <p:cNvGraphicFramePr/>
          <p:nvPr>
            <p:extLst>
              <p:ext uri="{D42A27DB-BD31-4B8C-83A1-F6EECF244321}">
                <p14:modId xmlns:p14="http://schemas.microsoft.com/office/powerpoint/2010/main" val="214466501"/>
              </p:ext>
            </p:extLst>
          </p:nvPr>
        </p:nvGraphicFramePr>
        <p:xfrm>
          <a:off x="3706150" y="2773362"/>
          <a:ext cx="4396818" cy="25268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1" name="Arrow: Pentagon 90">
            <a:extLst>
              <a:ext uri="{FF2B5EF4-FFF2-40B4-BE49-F238E27FC236}">
                <a16:creationId xmlns:a16="http://schemas.microsoft.com/office/drawing/2014/main" id="{BC51845B-F3C7-4354-858A-E7277B4F3D04}"/>
              </a:ext>
            </a:extLst>
          </p:cNvPr>
          <p:cNvSpPr/>
          <p:nvPr/>
        </p:nvSpPr>
        <p:spPr>
          <a:xfrm flipH="1">
            <a:off x="7763360" y="2299529"/>
            <a:ext cx="2811517" cy="3054594"/>
          </a:xfrm>
          <a:prstGeom prst="homePlate">
            <a:avLst>
              <a:gd name="adj" fmla="val 15929"/>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a:ea typeface="+mn-ea"/>
                <a:cs typeface="+mn-cs"/>
              </a:rPr>
              <a:t>Technical Excellenc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66666"/>
                </a:solidFill>
                <a:effectLst/>
                <a:uLnTx/>
                <a:uFillTx/>
                <a:latin typeface="Arial"/>
                <a:ea typeface="+mn-ea"/>
                <a:cs typeface="+mn-cs"/>
              </a:rPr>
              <a:t>(CO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666666"/>
              </a:solidFill>
              <a:effectLst/>
              <a:uLnTx/>
              <a:uFillTx/>
              <a:latin typeface="Arial"/>
              <a:ea typeface="+mn-ea"/>
              <a:cs typeface="+mn-cs"/>
            </a:endParaRPr>
          </a:p>
        </p:txBody>
      </p:sp>
      <p:sp>
        <p:nvSpPr>
          <p:cNvPr id="92" name="Arrow: Pentagon 91">
            <a:extLst>
              <a:ext uri="{FF2B5EF4-FFF2-40B4-BE49-F238E27FC236}">
                <a16:creationId xmlns:a16="http://schemas.microsoft.com/office/drawing/2014/main" id="{A8BF3880-E974-4CB4-8BFC-EBA7841D2EF6}"/>
              </a:ext>
            </a:extLst>
          </p:cNvPr>
          <p:cNvSpPr/>
          <p:nvPr/>
        </p:nvSpPr>
        <p:spPr>
          <a:xfrm>
            <a:off x="1594605" y="2299528"/>
            <a:ext cx="2811517" cy="3054595"/>
          </a:xfrm>
          <a:prstGeom prst="homePlate">
            <a:avLst>
              <a:gd name="adj" fmla="val 15929"/>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a:ea typeface="+mn-ea"/>
                <a:cs typeface="+mn-cs"/>
              </a:rPr>
              <a:t>Operational Excellence    </a:t>
            </a:r>
            <a:r>
              <a:rPr kumimoji="0" lang="en-US" sz="1200" b="0" i="0" u="none" strike="noStrike" kern="1200" cap="none" spc="0" normalizeH="0" baseline="0" noProof="0" dirty="0">
                <a:ln>
                  <a:noFill/>
                </a:ln>
                <a:solidFill>
                  <a:srgbClr val="666666"/>
                </a:solidFill>
                <a:effectLst/>
                <a:uLnTx/>
                <a:uFillTx/>
                <a:latin typeface="Arial"/>
                <a:ea typeface="+mn-ea"/>
                <a:cs typeface="+mn-cs"/>
              </a:rPr>
              <a:t>(Lea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666666"/>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E96B1771-452A-4ED7-B64A-CF0611399E93}"/>
              </a:ext>
            </a:extLst>
          </p:cNvPr>
          <p:cNvSpPr/>
          <p:nvPr/>
        </p:nvSpPr>
        <p:spPr>
          <a:xfrm>
            <a:off x="8458122" y="4056725"/>
            <a:ext cx="1835304" cy="442129"/>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latin typeface="Arial"/>
              </a:rPr>
              <a:t>Ready to Deploy Projects </a:t>
            </a:r>
          </a:p>
        </p:txBody>
      </p:sp>
      <p:pic>
        <p:nvPicPr>
          <p:cNvPr id="94" name="Image 19">
            <a:extLst>
              <a:ext uri="{FF2B5EF4-FFF2-40B4-BE49-F238E27FC236}">
                <a16:creationId xmlns:a16="http://schemas.microsoft.com/office/drawing/2014/main" id="{17A9B2BD-885C-4D07-A792-085496CE4D2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49940" y="3720169"/>
            <a:ext cx="1733991" cy="585588"/>
          </a:xfrm>
          <a:prstGeom prst="rect">
            <a:avLst/>
          </a:prstGeom>
          <a:ln>
            <a:noFill/>
          </a:ln>
          <a:effectLst/>
        </p:spPr>
      </p:pic>
      <p:sp>
        <p:nvSpPr>
          <p:cNvPr id="95" name="Rectangle 94">
            <a:extLst>
              <a:ext uri="{FF2B5EF4-FFF2-40B4-BE49-F238E27FC236}">
                <a16:creationId xmlns:a16="http://schemas.microsoft.com/office/drawing/2014/main" id="{360CF50C-FDFD-48B0-9FB9-6574CBDA35BC}"/>
              </a:ext>
            </a:extLst>
          </p:cNvPr>
          <p:cNvSpPr/>
          <p:nvPr/>
        </p:nvSpPr>
        <p:spPr>
          <a:xfrm>
            <a:off x="8458122" y="2950029"/>
            <a:ext cx="1835304" cy="442129"/>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dirty="0">
                <a:solidFill>
                  <a:srgbClr val="FFFFFF"/>
                </a:solidFill>
                <a:latin typeface="Arial"/>
              </a:rPr>
              <a:t>Opportunity to TE Best</a:t>
            </a:r>
            <a:endParaRPr lang="en-US" dirty="0">
              <a:ea typeface="+mn-ea"/>
              <a:cs typeface="+mn-cs"/>
            </a:endParaRPr>
          </a:p>
        </p:txBody>
      </p:sp>
      <p:sp>
        <p:nvSpPr>
          <p:cNvPr id="96" name="Rectangle 95">
            <a:extLst>
              <a:ext uri="{FF2B5EF4-FFF2-40B4-BE49-F238E27FC236}">
                <a16:creationId xmlns:a16="http://schemas.microsoft.com/office/drawing/2014/main" id="{E1E4ECEF-AA79-4786-9832-2059C77CAC44}"/>
              </a:ext>
            </a:extLst>
          </p:cNvPr>
          <p:cNvSpPr/>
          <p:nvPr/>
        </p:nvSpPr>
        <p:spPr>
          <a:xfrm>
            <a:off x="8458122" y="3503377"/>
            <a:ext cx="1835304" cy="442129"/>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200" dirty="0">
                <a:solidFill>
                  <a:srgbClr val="FFFFFF"/>
                </a:solidFill>
                <a:latin typeface="Arial"/>
              </a:rPr>
              <a:t>Process Excellence Frameworks</a:t>
            </a:r>
            <a:endParaRPr lang="en-US" dirty="0">
              <a:ea typeface="+mn-ea"/>
              <a:cs typeface="+mn-cs"/>
            </a:endParaRPr>
          </a:p>
        </p:txBody>
      </p:sp>
      <p:sp>
        <p:nvSpPr>
          <p:cNvPr id="97" name="Rectangle 96">
            <a:extLst>
              <a:ext uri="{FF2B5EF4-FFF2-40B4-BE49-F238E27FC236}">
                <a16:creationId xmlns:a16="http://schemas.microsoft.com/office/drawing/2014/main" id="{128FB84B-30FF-4A08-A717-FFFC0E52B989}"/>
              </a:ext>
            </a:extLst>
          </p:cNvPr>
          <p:cNvSpPr/>
          <p:nvPr/>
        </p:nvSpPr>
        <p:spPr>
          <a:xfrm>
            <a:off x="8458122" y="4610072"/>
            <a:ext cx="1835304" cy="442129"/>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None/>
              <a:tabLst/>
              <a:defRPr/>
            </a:pPr>
            <a:r>
              <a:rPr lang="en-US" sz="1200" dirty="0">
                <a:solidFill>
                  <a:srgbClr val="FFFFFF"/>
                </a:solidFill>
                <a:latin typeface="Arial"/>
              </a:rPr>
              <a:t>Technical Academies</a:t>
            </a:r>
            <a:endParaRPr lang="en-US" dirty="0">
              <a:ea typeface="+mn-ea"/>
              <a:cs typeface="+mn-cs"/>
            </a:endParaRPr>
          </a:p>
        </p:txBody>
      </p:sp>
      <p:sp>
        <p:nvSpPr>
          <p:cNvPr id="98" name="Rectangle 97">
            <a:extLst>
              <a:ext uri="{FF2B5EF4-FFF2-40B4-BE49-F238E27FC236}">
                <a16:creationId xmlns:a16="http://schemas.microsoft.com/office/drawing/2014/main" id="{383C137E-6CC8-480C-A809-C4A2F21BE7F8}"/>
              </a:ext>
            </a:extLst>
          </p:cNvPr>
          <p:cNvSpPr/>
          <p:nvPr/>
        </p:nvSpPr>
        <p:spPr>
          <a:xfrm>
            <a:off x="1946656" y="4731132"/>
            <a:ext cx="1835304" cy="322552"/>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Value Stream Man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mn-ea"/>
                <a:cs typeface="+mn-cs"/>
              </a:rPr>
              <a:t>(Material and Master Planning)</a:t>
            </a:r>
          </a:p>
        </p:txBody>
      </p:sp>
      <p:sp>
        <p:nvSpPr>
          <p:cNvPr id="99" name="Rectangle 98">
            <a:extLst>
              <a:ext uri="{FF2B5EF4-FFF2-40B4-BE49-F238E27FC236}">
                <a16:creationId xmlns:a16="http://schemas.microsoft.com/office/drawing/2014/main" id="{768F315B-FC5E-4FFD-A77F-16D6704AB759}"/>
              </a:ext>
            </a:extLst>
          </p:cNvPr>
          <p:cNvSpPr/>
          <p:nvPr/>
        </p:nvSpPr>
        <p:spPr>
          <a:xfrm>
            <a:off x="1960491" y="3392173"/>
            <a:ext cx="1835304" cy="354119"/>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Standard Work</a:t>
            </a:r>
          </a:p>
        </p:txBody>
      </p:sp>
      <p:sp>
        <p:nvSpPr>
          <p:cNvPr id="100" name="Rectangle 99">
            <a:extLst>
              <a:ext uri="{FF2B5EF4-FFF2-40B4-BE49-F238E27FC236}">
                <a16:creationId xmlns:a16="http://schemas.microsoft.com/office/drawing/2014/main" id="{CEA5A6D9-10AB-478F-BE91-0043FA92C4E6}"/>
              </a:ext>
            </a:extLst>
          </p:cNvPr>
          <p:cNvSpPr/>
          <p:nvPr/>
        </p:nvSpPr>
        <p:spPr>
          <a:xfrm>
            <a:off x="1960491" y="3835904"/>
            <a:ext cx="1835304" cy="354119"/>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Quick Changeover </a:t>
            </a:r>
            <a:r>
              <a:rPr kumimoji="0" lang="en-US" sz="700" b="0" i="0" u="none" strike="noStrike" kern="1200" cap="none" spc="0" normalizeH="0" baseline="0" noProof="0" dirty="0">
                <a:ln>
                  <a:noFill/>
                </a:ln>
                <a:solidFill>
                  <a:srgbClr val="FFFFFF"/>
                </a:solidFill>
                <a:effectLst/>
                <a:uLnTx/>
                <a:uFillTx/>
                <a:latin typeface="Arial"/>
                <a:ea typeface="+mn-ea"/>
                <a:cs typeface="+mn-cs"/>
              </a:rPr>
              <a:t>(EPEI)</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C78AB36E-A01D-4FEA-B8DB-19850323A2BA}"/>
              </a:ext>
            </a:extLst>
          </p:cNvPr>
          <p:cNvSpPr/>
          <p:nvPr/>
        </p:nvSpPr>
        <p:spPr>
          <a:xfrm>
            <a:off x="1952214" y="4279635"/>
            <a:ext cx="1835304" cy="361885"/>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Workplace Design </a:t>
            </a:r>
            <a:r>
              <a:rPr kumimoji="0" lang="en-US" sz="700" b="0" i="0" u="none" strike="noStrike" kern="1200" cap="none" spc="0" normalizeH="0" baseline="0" noProof="0" dirty="0">
                <a:ln>
                  <a:noFill/>
                </a:ln>
                <a:solidFill>
                  <a:srgbClr val="FFFFFF"/>
                </a:solidFill>
                <a:effectLst/>
                <a:uLnTx/>
                <a:uFillTx/>
                <a:latin typeface="Arial"/>
                <a:ea typeface="+mn-ea"/>
                <a:cs typeface="+mn-cs"/>
              </a:rPr>
              <a:t>(Cell Design &amp; 3P)</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2" name="Group 101">
            <a:extLst>
              <a:ext uri="{FF2B5EF4-FFF2-40B4-BE49-F238E27FC236}">
                <a16:creationId xmlns:a16="http://schemas.microsoft.com/office/drawing/2014/main" id="{5B870899-DDA0-4090-803F-140D5B928762}"/>
              </a:ext>
            </a:extLst>
          </p:cNvPr>
          <p:cNvGrpSpPr/>
          <p:nvPr/>
        </p:nvGrpSpPr>
        <p:grpSpPr>
          <a:xfrm>
            <a:off x="4737931" y="1015767"/>
            <a:ext cx="2571481" cy="960581"/>
            <a:chOff x="3216000" y="2353157"/>
            <a:chExt cx="5760000" cy="2151685"/>
          </a:xfrm>
        </p:grpSpPr>
        <p:sp>
          <p:nvSpPr>
            <p:cNvPr id="103" name="Oval 102">
              <a:extLst>
                <a:ext uri="{FF2B5EF4-FFF2-40B4-BE49-F238E27FC236}">
                  <a16:creationId xmlns:a16="http://schemas.microsoft.com/office/drawing/2014/main" id="{528B8AA7-86D7-472E-866B-292DF30C9CCE}"/>
                </a:ext>
              </a:extLst>
            </p:cNvPr>
            <p:cNvSpPr/>
            <p:nvPr/>
          </p:nvSpPr>
          <p:spPr>
            <a:xfrm>
              <a:off x="6847304" y="2751797"/>
              <a:ext cx="2128696" cy="1303399"/>
            </a:xfrm>
            <a:prstGeom prst="ellipse">
              <a:avLst/>
            </a:prstGeom>
            <a:solidFill>
              <a:srgbClr val="E8E8E8"/>
            </a:solidFill>
            <a:ln w="25400" cap="flat" cmpd="sng" algn="ctr">
              <a:solidFill>
                <a:srgbClr val="E98300"/>
              </a:solidFill>
              <a:prstDash val="solid"/>
              <a:miter lim="800000"/>
            </a:ln>
            <a:effectLst/>
          </p:spPr>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HIGHLY ENGAGED</a:t>
              </a:r>
              <a:br>
                <a:rPr kumimoji="0" lang="en-US" sz="600" b="1" i="0" u="none" strike="noStrike" kern="1200" cap="none" spc="0" normalizeH="0" baseline="0" noProof="0" dirty="0">
                  <a:ln>
                    <a:noFill/>
                  </a:ln>
                  <a:solidFill>
                    <a:srgbClr val="747678"/>
                  </a:solidFill>
                  <a:effectLst/>
                  <a:uLnTx/>
                  <a:uFillTx/>
                  <a:latin typeface="Arial"/>
                  <a:ea typeface="+mn-ea"/>
                  <a:cs typeface="+mn-cs"/>
                </a:rPr>
              </a:br>
              <a:r>
                <a:rPr kumimoji="0" lang="en-US" sz="600" b="1" i="0" u="none" strike="noStrike" kern="1200" cap="none" spc="0" normalizeH="0" baseline="0" noProof="0" dirty="0">
                  <a:ln>
                    <a:noFill/>
                  </a:ln>
                  <a:solidFill>
                    <a:srgbClr val="747678"/>
                  </a:solidFill>
                  <a:effectLst/>
                  <a:uLnTx/>
                  <a:uFillTx/>
                  <a:latin typeface="Arial"/>
                  <a:ea typeface="+mn-ea"/>
                  <a:cs typeface="+mn-cs"/>
                </a:rPr>
                <a:t>EMPLOYEES</a:t>
              </a:r>
            </a:p>
          </p:txBody>
        </p:sp>
        <p:sp>
          <p:nvSpPr>
            <p:cNvPr id="104" name="Oval 103">
              <a:extLst>
                <a:ext uri="{FF2B5EF4-FFF2-40B4-BE49-F238E27FC236}">
                  <a16:creationId xmlns:a16="http://schemas.microsoft.com/office/drawing/2014/main" id="{779039A0-9EE1-45D8-8371-471299AFBC26}"/>
                </a:ext>
              </a:extLst>
            </p:cNvPr>
            <p:cNvSpPr/>
            <p:nvPr/>
          </p:nvSpPr>
          <p:spPr>
            <a:xfrm>
              <a:off x="3216000" y="2757489"/>
              <a:ext cx="2128696" cy="1303399"/>
            </a:xfrm>
            <a:prstGeom prst="ellipse">
              <a:avLst/>
            </a:prstGeom>
            <a:solidFill>
              <a:srgbClr val="E8E8E8"/>
            </a:solidFill>
            <a:ln w="25400" cap="flat" cmpd="sng" algn="ctr">
              <a:solidFill>
                <a:srgbClr val="E98300"/>
              </a:solidFill>
              <a:prstDash val="solid"/>
              <a:miter lim="800000"/>
            </a:ln>
            <a:effectLst/>
          </p:spPr>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PREMIER PARTNER</a:t>
              </a:r>
              <a:br>
                <a:rPr kumimoji="0" lang="en-US" sz="600" b="1" i="0" u="none" strike="noStrike" kern="1200" cap="none" spc="0" normalizeH="0" baseline="0" noProof="0" dirty="0">
                  <a:ln>
                    <a:noFill/>
                  </a:ln>
                  <a:solidFill>
                    <a:srgbClr val="747678"/>
                  </a:solidFill>
                  <a:effectLst/>
                  <a:uLnTx/>
                  <a:uFillTx/>
                  <a:latin typeface="Arial"/>
                  <a:ea typeface="+mn-ea"/>
                  <a:cs typeface="+mn-cs"/>
                </a:rPr>
              </a:br>
              <a:r>
                <a:rPr kumimoji="0" lang="en-US" sz="600" b="1" i="0" u="none" strike="noStrike" kern="1200" cap="none" spc="0" normalizeH="0" baseline="0" noProof="0" dirty="0">
                  <a:ln>
                    <a:noFill/>
                  </a:ln>
                  <a:solidFill>
                    <a:srgbClr val="747678"/>
                  </a:solidFill>
                  <a:effectLst/>
                  <a:uLnTx/>
                  <a:uFillTx/>
                  <a:latin typeface="Arial"/>
                  <a:ea typeface="+mn-ea"/>
                  <a:cs typeface="+mn-cs"/>
                </a:rPr>
                <a:t>FOR OUR CUSTOMERS</a:t>
              </a:r>
            </a:p>
          </p:txBody>
        </p:sp>
        <p:sp>
          <p:nvSpPr>
            <p:cNvPr id="105" name="Oval 104">
              <a:extLst>
                <a:ext uri="{FF2B5EF4-FFF2-40B4-BE49-F238E27FC236}">
                  <a16:creationId xmlns:a16="http://schemas.microsoft.com/office/drawing/2014/main" id="{E493F642-3E99-4AA6-9193-F69A2314E044}"/>
                </a:ext>
              </a:extLst>
            </p:cNvPr>
            <p:cNvSpPr/>
            <p:nvPr/>
          </p:nvSpPr>
          <p:spPr>
            <a:xfrm>
              <a:off x="5031653" y="3201442"/>
              <a:ext cx="2128696" cy="1303400"/>
            </a:xfrm>
            <a:prstGeom prst="ellipse">
              <a:avLst/>
            </a:prstGeom>
            <a:solidFill>
              <a:srgbClr val="E8E8E8"/>
            </a:solidFill>
            <a:ln w="25400" cap="flat" cmpd="sng" algn="ctr">
              <a:solidFill>
                <a:srgbClr val="E98300"/>
              </a:solidFill>
              <a:prstDash val="solid"/>
              <a:miter lim="800000"/>
            </a:ln>
            <a:effectLst>
              <a:outerShdw blurRad="101600" dist="50800" dir="2700000" algn="tl" rotWithShape="0">
                <a:prstClr val="black">
                  <a:alpha val="20000"/>
                </a:prstClr>
              </a:outerShdw>
            </a:effectLst>
          </p:spPr>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SUPERIOR RETURNS</a:t>
              </a:r>
              <a:br>
                <a:rPr kumimoji="0" lang="en-US" sz="600" b="1" i="0" u="none" strike="noStrike" kern="1200" cap="none" spc="0" normalizeH="0" baseline="0" noProof="0" dirty="0">
                  <a:ln>
                    <a:noFill/>
                  </a:ln>
                  <a:solidFill>
                    <a:srgbClr val="747678"/>
                  </a:solidFill>
                  <a:effectLst/>
                  <a:uLnTx/>
                  <a:uFillTx/>
                  <a:latin typeface="Arial"/>
                  <a:ea typeface="+mn-ea"/>
                  <a:cs typeface="+mn-cs"/>
                </a:rPr>
              </a:br>
              <a:r>
                <a:rPr kumimoji="0" lang="en-US" sz="600" b="1" i="0" u="none" strike="noStrike" kern="1200" cap="none" spc="0" normalizeH="0" baseline="0" noProof="0" dirty="0">
                  <a:ln>
                    <a:noFill/>
                  </a:ln>
                  <a:solidFill>
                    <a:srgbClr val="747678"/>
                  </a:solidFill>
                  <a:effectLst/>
                  <a:uLnTx/>
                  <a:uFillTx/>
                  <a:latin typeface="Arial"/>
                  <a:ea typeface="+mn-ea"/>
                  <a:cs typeface="+mn-cs"/>
                </a:rPr>
                <a:t>FOR OUR</a:t>
              </a:r>
            </a:p>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 SHAREHOLDERS</a:t>
              </a:r>
            </a:p>
          </p:txBody>
        </p:sp>
        <p:pic>
          <p:nvPicPr>
            <p:cNvPr id="106" name="Picture 105">
              <a:extLst>
                <a:ext uri="{FF2B5EF4-FFF2-40B4-BE49-F238E27FC236}">
                  <a16:creationId xmlns:a16="http://schemas.microsoft.com/office/drawing/2014/main" id="{33454D7A-AFCD-4611-8536-90D135F841C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37335" y="2353157"/>
              <a:ext cx="1317636" cy="754543"/>
            </a:xfrm>
            <a:prstGeom prst="rect">
              <a:avLst/>
            </a:prstGeom>
          </p:spPr>
        </p:pic>
      </p:grpSp>
      <p:sp>
        <p:nvSpPr>
          <p:cNvPr id="107" name="Rectangle 106">
            <a:extLst>
              <a:ext uri="{FF2B5EF4-FFF2-40B4-BE49-F238E27FC236}">
                <a16:creationId xmlns:a16="http://schemas.microsoft.com/office/drawing/2014/main" id="{3639D1B0-6019-4FAF-9ABD-4A68D73F4CC3}"/>
              </a:ext>
            </a:extLst>
          </p:cNvPr>
          <p:cNvSpPr/>
          <p:nvPr/>
        </p:nvSpPr>
        <p:spPr>
          <a:xfrm>
            <a:off x="1952214" y="2943224"/>
            <a:ext cx="1835304" cy="359337"/>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Built in Quality </a:t>
            </a:r>
            <a:r>
              <a:rPr kumimoji="0" lang="en-US" sz="700" b="0" i="0" u="none" strike="noStrike" kern="1200" cap="none" spc="0" normalizeH="0" baseline="0" noProof="0" dirty="0">
                <a:ln>
                  <a:noFill/>
                </a:ln>
                <a:solidFill>
                  <a:srgbClr val="FFFFFF"/>
                </a:solidFill>
                <a:effectLst/>
                <a:uLnTx/>
                <a:uFillTx/>
                <a:latin typeface="Arial"/>
                <a:ea typeface="+mn-ea"/>
                <a:cs typeface="+mn-cs"/>
              </a:rPr>
              <a:t>( Problem Solving MP, QCPC)</a:t>
            </a:r>
            <a:endParaRPr kumimoji="0" lang="en-US" sz="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 name="Rectangle 107">
            <a:extLst>
              <a:ext uri="{FF2B5EF4-FFF2-40B4-BE49-F238E27FC236}">
                <a16:creationId xmlns:a16="http://schemas.microsoft.com/office/drawing/2014/main" id="{BEC70C17-5659-4726-848C-258F22451F57}"/>
              </a:ext>
            </a:extLst>
          </p:cNvPr>
          <p:cNvSpPr/>
          <p:nvPr/>
        </p:nvSpPr>
        <p:spPr>
          <a:xfrm>
            <a:off x="1594606" y="5354976"/>
            <a:ext cx="8980274" cy="433756"/>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66666"/>
                </a:solidFill>
                <a:effectLst/>
                <a:uLnTx/>
                <a:uFillTx/>
                <a:latin typeface="Arial"/>
                <a:ea typeface="+mn-ea"/>
                <a:cs typeface="+mn-cs"/>
              </a:rPr>
              <a:t>Define Strategy and Develop Talent</a:t>
            </a:r>
          </a:p>
        </p:txBody>
      </p:sp>
      <p:sp>
        <p:nvSpPr>
          <p:cNvPr id="109" name="Rectangle 108">
            <a:extLst>
              <a:ext uri="{FF2B5EF4-FFF2-40B4-BE49-F238E27FC236}">
                <a16:creationId xmlns:a16="http://schemas.microsoft.com/office/drawing/2014/main" id="{2C9DA603-6959-4E07-8D0F-7C4D64777EE8}"/>
              </a:ext>
            </a:extLst>
          </p:cNvPr>
          <p:cNvSpPr/>
          <p:nvPr/>
        </p:nvSpPr>
        <p:spPr>
          <a:xfrm>
            <a:off x="1384611" y="5784174"/>
            <a:ext cx="9422778" cy="43198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66666"/>
                </a:solidFill>
                <a:effectLst/>
                <a:uLnTx/>
                <a:uFillTx/>
                <a:latin typeface="Arial"/>
                <a:ea typeface="+mn-ea"/>
                <a:cs typeface="+mn-cs"/>
              </a:rPr>
              <a:t>Create Stability &amp; Culture </a:t>
            </a:r>
            <a:r>
              <a:rPr kumimoji="0" lang="en-US" sz="1200" b="1" i="0" u="none" strike="noStrike" kern="1200" cap="none" spc="0" normalizeH="0" baseline="0" noProof="0" dirty="0">
                <a:ln>
                  <a:noFill/>
                </a:ln>
                <a:solidFill>
                  <a:srgbClr val="666666"/>
                </a:solidFill>
                <a:effectLst/>
                <a:uLnTx/>
                <a:uFillTx/>
                <a:latin typeface="Arial"/>
                <a:ea typeface="+mn-ea"/>
                <a:cs typeface="+mn-cs"/>
              </a:rPr>
              <a:t>(EH&amp;S, Quality Foundations, 5S&amp; Visual Management, TPM, PIM)</a:t>
            </a:r>
            <a:endParaRPr kumimoji="0" lang="en-US" sz="1600" b="1" i="0" u="none" strike="noStrike" kern="1200" cap="none" spc="0" normalizeH="0" baseline="0" noProof="0" dirty="0">
              <a:ln>
                <a:noFill/>
              </a:ln>
              <a:solidFill>
                <a:srgbClr val="666666"/>
              </a:solidFill>
              <a:effectLst/>
              <a:uLnTx/>
              <a:uFillTx/>
              <a:latin typeface="Arial"/>
              <a:ea typeface="+mn-ea"/>
              <a:cs typeface="+mn-cs"/>
            </a:endParaRPr>
          </a:p>
        </p:txBody>
      </p:sp>
      <p:sp>
        <p:nvSpPr>
          <p:cNvPr id="110" name="TextBox 109">
            <a:extLst>
              <a:ext uri="{FF2B5EF4-FFF2-40B4-BE49-F238E27FC236}">
                <a16:creationId xmlns:a16="http://schemas.microsoft.com/office/drawing/2014/main" id="{D421944C-68FB-4C13-8468-B72F32B0EB5F}"/>
              </a:ext>
            </a:extLst>
          </p:cNvPr>
          <p:cNvSpPr txBox="1"/>
          <p:nvPr/>
        </p:nvSpPr>
        <p:spPr>
          <a:xfrm>
            <a:off x="5063525" y="1993569"/>
            <a:ext cx="20424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66666"/>
                </a:solidFill>
                <a:effectLst/>
                <a:uLnTx/>
                <a:uFillTx/>
                <a:latin typeface="Arial"/>
                <a:ea typeface="+mn-ea"/>
                <a:cs typeface="+mn-cs"/>
              </a:rPr>
              <a:t>Balanced Scorecard (KPIs)</a:t>
            </a:r>
          </a:p>
        </p:txBody>
      </p:sp>
      <p:sp>
        <p:nvSpPr>
          <p:cNvPr id="111" name="Rectangle: Rounded Corners 110">
            <a:extLst>
              <a:ext uri="{FF2B5EF4-FFF2-40B4-BE49-F238E27FC236}">
                <a16:creationId xmlns:a16="http://schemas.microsoft.com/office/drawing/2014/main" id="{75504273-32E6-4C4A-A535-0277F451287A}"/>
              </a:ext>
            </a:extLst>
          </p:cNvPr>
          <p:cNvSpPr/>
          <p:nvPr/>
        </p:nvSpPr>
        <p:spPr>
          <a:xfrm>
            <a:off x="5209734" y="2311101"/>
            <a:ext cx="1774197" cy="304931"/>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p:spPr>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600" b="1" i="0" u="none" strike="noStrike" kern="1200" cap="none" spc="0" normalizeH="0" baseline="0" noProof="0" dirty="0">
                <a:ln>
                  <a:noFill/>
                </a:ln>
                <a:solidFill>
                  <a:srgbClr val="666666"/>
                </a:solidFill>
                <a:effectLst/>
                <a:uLnTx/>
                <a:uFillTx/>
                <a:latin typeface="Arial"/>
                <a:ea typeface="+mn-ea"/>
                <a:cs typeface="+mn-cs"/>
              </a:rPr>
              <a:t>Transformation</a:t>
            </a:r>
          </a:p>
        </p:txBody>
      </p:sp>
      <p:grpSp>
        <p:nvGrpSpPr>
          <p:cNvPr id="112" name="Group 111">
            <a:extLst>
              <a:ext uri="{FF2B5EF4-FFF2-40B4-BE49-F238E27FC236}">
                <a16:creationId xmlns:a16="http://schemas.microsoft.com/office/drawing/2014/main" id="{CA922BF3-BE76-48E5-A766-E27AA2C2D8C4}"/>
              </a:ext>
            </a:extLst>
          </p:cNvPr>
          <p:cNvGrpSpPr/>
          <p:nvPr/>
        </p:nvGrpSpPr>
        <p:grpSpPr>
          <a:xfrm>
            <a:off x="10372466" y="977082"/>
            <a:ext cx="1515158" cy="1072675"/>
            <a:chOff x="10450774" y="794682"/>
            <a:chExt cx="1515158" cy="1072675"/>
          </a:xfrm>
        </p:grpSpPr>
        <p:sp>
          <p:nvSpPr>
            <p:cNvPr id="113" name="Rectangle 112">
              <a:extLst>
                <a:ext uri="{FF2B5EF4-FFF2-40B4-BE49-F238E27FC236}">
                  <a16:creationId xmlns:a16="http://schemas.microsoft.com/office/drawing/2014/main" id="{55BB362F-7D10-482B-BA04-C0F6216BBA67}"/>
                </a:ext>
              </a:extLst>
            </p:cNvPr>
            <p:cNvSpPr/>
            <p:nvPr/>
          </p:nvSpPr>
          <p:spPr>
            <a:xfrm>
              <a:off x="10490973" y="1130398"/>
              <a:ext cx="1474959" cy="34883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66666"/>
                  </a:solidFill>
                  <a:effectLst/>
                  <a:uLnTx/>
                  <a:uFillTx/>
                  <a:latin typeface="Arial"/>
                  <a:ea typeface="+mn-ea"/>
                  <a:cs typeface="+mn-cs"/>
                </a:rPr>
                <a:t>Star Level Criteria</a:t>
              </a:r>
            </a:p>
          </p:txBody>
        </p:sp>
        <p:sp>
          <p:nvSpPr>
            <p:cNvPr id="114" name="TextBox 113">
              <a:extLst>
                <a:ext uri="{FF2B5EF4-FFF2-40B4-BE49-F238E27FC236}">
                  <a16:creationId xmlns:a16="http://schemas.microsoft.com/office/drawing/2014/main" id="{F7FF5C41-4581-443D-9898-FE996F1F7EF8}"/>
                </a:ext>
              </a:extLst>
            </p:cNvPr>
            <p:cNvSpPr txBox="1"/>
            <p:nvPr/>
          </p:nvSpPr>
          <p:spPr>
            <a:xfrm>
              <a:off x="10450774" y="794682"/>
              <a:ext cx="5188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66666"/>
                  </a:solidFill>
                  <a:effectLst/>
                  <a:uLnTx/>
                  <a:uFillTx/>
                  <a:latin typeface="Arial"/>
                  <a:ea typeface="+mn-ea"/>
                  <a:cs typeface="+mn-cs"/>
                </a:rPr>
                <a:t>Key</a:t>
              </a:r>
            </a:p>
          </p:txBody>
        </p:sp>
        <p:sp>
          <p:nvSpPr>
            <p:cNvPr id="115" name="Rectangle 114">
              <a:extLst>
                <a:ext uri="{FF2B5EF4-FFF2-40B4-BE49-F238E27FC236}">
                  <a16:creationId xmlns:a16="http://schemas.microsoft.com/office/drawing/2014/main" id="{C4EACB90-C518-4466-8567-95111FEDA04B}"/>
                </a:ext>
              </a:extLst>
            </p:cNvPr>
            <p:cNvSpPr/>
            <p:nvPr/>
          </p:nvSpPr>
          <p:spPr>
            <a:xfrm>
              <a:off x="10490972" y="1518527"/>
              <a:ext cx="1474959" cy="34883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Transformational Tool</a:t>
              </a:r>
            </a:p>
          </p:txBody>
        </p:sp>
      </p:grpSp>
      <p:sp>
        <p:nvSpPr>
          <p:cNvPr id="7" name="Rectangle 6">
            <a:extLst>
              <a:ext uri="{FF2B5EF4-FFF2-40B4-BE49-F238E27FC236}">
                <a16:creationId xmlns:a16="http://schemas.microsoft.com/office/drawing/2014/main" id="{6B9286AF-BE68-4E51-96DF-DD87ED43A5AA}"/>
              </a:ext>
            </a:extLst>
          </p:cNvPr>
          <p:cNvSpPr/>
          <p:nvPr/>
        </p:nvSpPr>
        <p:spPr>
          <a:xfrm>
            <a:off x="2413895" y="5783321"/>
            <a:ext cx="2584510" cy="412061"/>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83116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0477781-05C6-4635-A850-F123C601CF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Objekt 6" hidden="1">
                        <a:extLst>
                          <a:ext uri="{FF2B5EF4-FFF2-40B4-BE49-F238E27FC236}">
                            <a16:creationId xmlns:a16="http://schemas.microsoft.com/office/drawing/2014/main" id="{A0477781-05C6-4635-A850-F123C601CF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335E2A6A-4DB0-4A08-AE8A-55996CF4532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 name="Content Placeholder 4">
            <a:extLst>
              <a:ext uri="{FF2B5EF4-FFF2-40B4-BE49-F238E27FC236}">
                <a16:creationId xmlns:a16="http://schemas.microsoft.com/office/drawing/2014/main" id="{5A605BFB-9DD7-4EE4-94BB-A42D58397869}"/>
              </a:ext>
            </a:extLst>
          </p:cNvPr>
          <p:cNvSpPr>
            <a:spLocks noGrp="1"/>
          </p:cNvSpPr>
          <p:nvPr>
            <p:ph sz="half" idx="1"/>
          </p:nvPr>
        </p:nvSpPr>
        <p:spPr>
          <a:xfrm>
            <a:off x="298207" y="1159518"/>
            <a:ext cx="5797793" cy="3667987"/>
          </a:xfrm>
        </p:spPr>
        <p:txBody>
          <a:bodyPr vert="horz" lIns="0" tIns="0" rIns="0" bIns="0" rtlCol="0" anchor="t">
            <a:noAutofit/>
          </a:bodyPr>
          <a:lstStyle/>
          <a:p>
            <a:pPr marL="342900" indent="-342900">
              <a:lnSpc>
                <a:spcPct val="200000"/>
              </a:lnSpc>
              <a:buFont typeface="+mj-lt"/>
              <a:buAutoNum type="arabicPeriod"/>
            </a:pPr>
            <a:r>
              <a:rPr lang="en-US" sz="2400" b="1" dirty="0">
                <a:hlinkClick r:id="rId6" action="ppaction://hlinksldjump">
                  <a:extLst>
                    <a:ext uri="{A12FA001-AC4F-418D-AE19-62706E023703}">
                      <ahyp:hlinkClr xmlns:ahyp="http://schemas.microsoft.com/office/drawing/2018/hyperlinkcolor" val="tx"/>
                    </a:ext>
                  </a:extLst>
                </a:hlinkClick>
              </a:rPr>
              <a:t>Playbook Objective</a:t>
            </a:r>
            <a:endParaRPr lang="en-US" sz="2400" b="1" dirty="0"/>
          </a:p>
          <a:p>
            <a:pPr marL="342900" indent="-342900">
              <a:lnSpc>
                <a:spcPct val="200000"/>
              </a:lnSpc>
              <a:buFont typeface="+mj-lt"/>
              <a:buAutoNum type="arabicPeriod"/>
            </a:pPr>
            <a:r>
              <a:rPr lang="en-US" sz="2400" b="1" dirty="0">
                <a:hlinkClick r:id="rId7" action="ppaction://hlinksldjump">
                  <a:extLst>
                    <a:ext uri="{A12FA001-AC4F-418D-AE19-62706E023703}">
                      <ahyp:hlinkClr xmlns:ahyp="http://schemas.microsoft.com/office/drawing/2018/hyperlinkcolor" val="tx"/>
                    </a:ext>
                  </a:extLst>
                </a:hlinkClick>
              </a:rPr>
              <a:t>What is TEOA</a:t>
            </a:r>
            <a:endParaRPr lang="en-US" sz="2400" b="1" dirty="0"/>
          </a:p>
          <a:p>
            <a:pPr marL="342900" indent="-342900">
              <a:lnSpc>
                <a:spcPct val="200000"/>
              </a:lnSpc>
              <a:buFont typeface="+mj-lt"/>
              <a:buAutoNum type="arabicPeriod"/>
            </a:pPr>
            <a:r>
              <a:rPr lang="en-IE" sz="2400" b="1" dirty="0">
                <a:hlinkClick r:id="rId8" action="ppaction://hlinksldjump">
                  <a:extLst>
                    <a:ext uri="{A12FA001-AC4F-418D-AE19-62706E023703}">
                      <ahyp:hlinkClr xmlns:ahyp="http://schemas.microsoft.com/office/drawing/2018/hyperlinkcolor" val="tx"/>
                    </a:ext>
                  </a:extLst>
                </a:hlinkClick>
              </a:rPr>
              <a:t>TEOA Toolkit</a:t>
            </a:r>
            <a:endParaRPr lang="en-IE" sz="2400" b="1" dirty="0"/>
          </a:p>
          <a:p>
            <a:pPr marL="342900" indent="-342900">
              <a:lnSpc>
                <a:spcPct val="200000"/>
              </a:lnSpc>
              <a:buFont typeface="+mj-lt"/>
              <a:buAutoNum type="arabicPeriod"/>
            </a:pPr>
            <a:r>
              <a:rPr lang="en-IE" sz="2400" b="1" dirty="0">
                <a:hlinkClick r:id="rId9" action="ppaction://hlinksldjump">
                  <a:extLst>
                    <a:ext uri="{A12FA001-AC4F-418D-AE19-62706E023703}">
                      <ahyp:hlinkClr xmlns:ahyp="http://schemas.microsoft.com/office/drawing/2018/hyperlinkcolor" val="tx"/>
                    </a:ext>
                  </a:extLst>
                </a:hlinkClick>
              </a:rPr>
              <a:t>TEOA Star System Infrastructure</a:t>
            </a:r>
            <a:endParaRPr lang="en-IE" sz="2400" b="1" dirty="0"/>
          </a:p>
          <a:p>
            <a:pPr marL="342900" indent="-342900">
              <a:lnSpc>
                <a:spcPct val="200000"/>
              </a:lnSpc>
              <a:buFont typeface="+mj-lt"/>
              <a:buAutoNum type="arabicPeriod"/>
            </a:pPr>
            <a:r>
              <a:rPr lang="en-GB" sz="2400" b="1" dirty="0">
                <a:hlinkClick r:id="rId10" action="ppaction://hlinksldjump">
                  <a:extLst>
                    <a:ext uri="{A12FA001-AC4F-418D-AE19-62706E023703}">
                      <ahyp:hlinkClr xmlns:ahyp="http://schemas.microsoft.com/office/drawing/2018/hyperlinkcolor" val="tx"/>
                    </a:ext>
                  </a:extLst>
                </a:hlinkClick>
              </a:rPr>
              <a:t>Managing The Deployment </a:t>
            </a:r>
            <a:endParaRPr lang="en-GB" sz="2400" b="1" dirty="0"/>
          </a:p>
          <a:p>
            <a:pPr marL="342900" indent="-342900">
              <a:lnSpc>
                <a:spcPct val="200000"/>
              </a:lnSpc>
              <a:buFont typeface="+mj-lt"/>
              <a:buAutoNum type="arabicPeriod"/>
            </a:pPr>
            <a:endParaRPr lang="en-US" sz="2400" b="1" dirty="0"/>
          </a:p>
        </p:txBody>
      </p:sp>
      <p:sp>
        <p:nvSpPr>
          <p:cNvPr id="4" name="Title 3">
            <a:extLst>
              <a:ext uri="{FF2B5EF4-FFF2-40B4-BE49-F238E27FC236}">
                <a16:creationId xmlns:a16="http://schemas.microsoft.com/office/drawing/2014/main" id="{79BC577F-832B-45E1-9A3C-2459BBD9A8F2}"/>
              </a:ext>
            </a:extLst>
          </p:cNvPr>
          <p:cNvSpPr>
            <a:spLocks noGrp="1"/>
          </p:cNvSpPr>
          <p:nvPr>
            <p:ph type="title"/>
          </p:nvPr>
        </p:nvSpPr>
        <p:spPr>
          <a:xfrm>
            <a:off x="298207" y="322026"/>
            <a:ext cx="9239248" cy="457200"/>
          </a:xfrm>
        </p:spPr>
        <p:txBody>
          <a:bodyPr/>
          <a:lstStyle/>
          <a:p>
            <a:r>
              <a:rPr lang="en-GB" dirty="0"/>
              <a:t>Create Stability &amp; Culture Overview</a:t>
            </a:r>
          </a:p>
        </p:txBody>
      </p:sp>
      <p:sp>
        <p:nvSpPr>
          <p:cNvPr id="9" name="Rectangle 8">
            <a:extLst>
              <a:ext uri="{FF2B5EF4-FFF2-40B4-BE49-F238E27FC236}">
                <a16:creationId xmlns:a16="http://schemas.microsoft.com/office/drawing/2014/main" id="{25FE4249-E42B-454F-A235-07E41E0F82C6}"/>
              </a:ext>
            </a:extLst>
          </p:cNvPr>
          <p:cNvSpPr/>
          <p:nvPr/>
        </p:nvSpPr>
        <p:spPr>
          <a:xfrm>
            <a:off x="2837352" y="6045290"/>
            <a:ext cx="596830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D202C"/>
                </a:solidFill>
                <a:effectLst/>
                <a:uLnTx/>
                <a:uFillTx/>
                <a:latin typeface="Arial"/>
                <a:ea typeface="+mn-ea"/>
                <a:cs typeface="+mn-cs"/>
              </a:rPr>
              <a:t>Note: Click on the links above to quickly access the topic</a:t>
            </a:r>
          </a:p>
        </p:txBody>
      </p:sp>
      <p:pic>
        <p:nvPicPr>
          <p:cNvPr id="11" name="Graphic 10" descr="Speech">
            <a:extLst>
              <a:ext uri="{FF2B5EF4-FFF2-40B4-BE49-F238E27FC236}">
                <a16:creationId xmlns:a16="http://schemas.microsoft.com/office/drawing/2014/main" id="{094B9AD3-0661-4D62-B47A-73A24DADC55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38852" y="5880706"/>
            <a:ext cx="698500" cy="698500"/>
          </a:xfrm>
          <a:prstGeom prst="rect">
            <a:avLst/>
          </a:prstGeom>
        </p:spPr>
      </p:pic>
      <p:pic>
        <p:nvPicPr>
          <p:cNvPr id="10" name="Picture 9">
            <a:hlinkClick r:id="rId13" action="ppaction://hlinksldjump"/>
            <a:extLst>
              <a:ext uri="{FF2B5EF4-FFF2-40B4-BE49-F238E27FC236}">
                <a16:creationId xmlns:a16="http://schemas.microsoft.com/office/drawing/2014/main" id="{C7C18429-7A2B-441D-A228-EB963B8241D3}"/>
              </a:ext>
            </a:extLst>
          </p:cNvPr>
          <p:cNvPicPr>
            <a:picLocks noChangeAspect="1"/>
          </p:cNvPicPr>
          <p:nvPr/>
        </p:nvPicPr>
        <p:blipFill>
          <a:blip r:embed="rId14"/>
          <a:stretch>
            <a:fillRect/>
          </a:stretch>
        </p:blipFill>
        <p:spPr>
          <a:xfrm>
            <a:off x="11297560" y="6263453"/>
            <a:ext cx="820810" cy="462128"/>
          </a:xfrm>
          <a:prstGeom prst="rect">
            <a:avLst/>
          </a:prstGeom>
        </p:spPr>
      </p:pic>
      <p:sp>
        <p:nvSpPr>
          <p:cNvPr id="12" name="Rectangle 11">
            <a:extLst>
              <a:ext uri="{FF2B5EF4-FFF2-40B4-BE49-F238E27FC236}">
                <a16:creationId xmlns:a16="http://schemas.microsoft.com/office/drawing/2014/main" id="{D1A62E2A-28CA-404E-A33B-D5A34E758A2F}"/>
              </a:ext>
            </a:extLst>
          </p:cNvPr>
          <p:cNvSpPr/>
          <p:nvPr/>
        </p:nvSpPr>
        <p:spPr>
          <a:xfrm>
            <a:off x="6005827" y="1218806"/>
            <a:ext cx="6287386" cy="3163174"/>
          </a:xfrm>
          <a:prstGeom prst="rect">
            <a:avLst/>
          </a:prstGeom>
        </p:spPr>
        <p:txBody>
          <a:bodyPr wrap="square">
            <a:spAutoFit/>
          </a:bodyPr>
          <a:lstStyle/>
          <a:p>
            <a:pPr marL="457200" lvl="0" indent="-457200">
              <a:lnSpc>
                <a:spcPct val="200000"/>
              </a:lnSpc>
              <a:spcAft>
                <a:spcPts val="600"/>
              </a:spcAft>
              <a:buFont typeface="+mj-lt"/>
              <a:buAutoNum type="arabicPeriod" startAt="6"/>
            </a:pPr>
            <a:r>
              <a:rPr lang="en-US" sz="2400" b="1" dirty="0">
                <a:solidFill>
                  <a:srgbClr val="666666"/>
                </a:solidFill>
                <a:hlinkClick r:id="rId15" action="ppaction://hlinksldjump">
                  <a:extLst>
                    <a:ext uri="{A12FA001-AC4F-418D-AE19-62706E023703}">
                      <ahyp:hlinkClr xmlns:ahyp="http://schemas.microsoft.com/office/drawing/2018/hyperlinkcolor" val="tx"/>
                    </a:ext>
                  </a:extLst>
                </a:hlinkClick>
              </a:rPr>
              <a:t>Fundamental Element Implementation</a:t>
            </a:r>
            <a:endParaRPr lang="en-US" sz="2400" b="1" dirty="0">
              <a:solidFill>
                <a:srgbClr val="666666"/>
              </a:solidFill>
            </a:endParaRPr>
          </a:p>
          <a:p>
            <a:pPr marL="342900" lvl="0" indent="-342900">
              <a:lnSpc>
                <a:spcPct val="200000"/>
              </a:lnSpc>
              <a:spcAft>
                <a:spcPts val="600"/>
              </a:spcAft>
              <a:buFont typeface="+mj-lt"/>
              <a:buAutoNum type="arabicPeriod" startAt="6"/>
            </a:pPr>
            <a:r>
              <a:rPr lang="en-US" sz="2400" b="1" dirty="0">
                <a:hlinkClick r:id="rId16" action="ppaction://hlinksldjump">
                  <a:extLst>
                    <a:ext uri="{A12FA001-AC4F-418D-AE19-62706E023703}">
                      <ahyp:hlinkClr xmlns:ahyp="http://schemas.microsoft.com/office/drawing/2018/hyperlinkcolor" val="tx"/>
                    </a:ext>
                  </a:extLst>
                </a:hlinkClick>
              </a:rPr>
              <a:t>Building Capabilities</a:t>
            </a:r>
            <a:endParaRPr lang="en-US" sz="2400" b="1" dirty="0"/>
          </a:p>
          <a:p>
            <a:pPr marL="342900" lvl="0" indent="-342900">
              <a:lnSpc>
                <a:spcPct val="200000"/>
              </a:lnSpc>
              <a:spcAft>
                <a:spcPts val="600"/>
              </a:spcAft>
              <a:buFont typeface="+mj-lt"/>
              <a:buAutoNum type="arabicPeriod" startAt="6"/>
            </a:pPr>
            <a:r>
              <a:rPr lang="en-US" sz="2400" b="1" dirty="0">
                <a:hlinkClick r:id="rId17" action="ppaction://hlinksldjump">
                  <a:extLst>
                    <a:ext uri="{A12FA001-AC4F-418D-AE19-62706E023703}">
                      <ahyp:hlinkClr xmlns:ahyp="http://schemas.microsoft.com/office/drawing/2018/hyperlinkcolor" val="tx"/>
                    </a:ext>
                  </a:extLst>
                </a:hlinkClick>
              </a:rPr>
              <a:t>Available Resources</a:t>
            </a:r>
            <a:endParaRPr lang="en-US" sz="2400" b="1" dirty="0"/>
          </a:p>
          <a:p>
            <a:pPr marL="342900" lvl="0" indent="-342900">
              <a:lnSpc>
                <a:spcPct val="200000"/>
              </a:lnSpc>
              <a:spcAft>
                <a:spcPts val="600"/>
              </a:spcAft>
              <a:buFont typeface="+mj-lt"/>
              <a:buAutoNum type="arabicPeriod" startAt="6"/>
            </a:pPr>
            <a:r>
              <a:rPr lang="en-US" sz="2400" b="1" dirty="0">
                <a:solidFill>
                  <a:srgbClr val="666666"/>
                </a:solidFill>
                <a:hlinkClick r:id="rId18" action="ppaction://hlinksldjump">
                  <a:extLst>
                    <a:ext uri="{A12FA001-AC4F-418D-AE19-62706E023703}">
                      <ahyp:hlinkClr xmlns:ahyp="http://schemas.microsoft.com/office/drawing/2018/hyperlinkcolor" val="tx"/>
                    </a:ext>
                  </a:extLst>
                </a:hlinkClick>
              </a:rPr>
              <a:t>Conclusion</a:t>
            </a:r>
            <a:endParaRPr lang="en-IE" sz="2000" dirty="0"/>
          </a:p>
        </p:txBody>
      </p:sp>
      <p:cxnSp>
        <p:nvCxnSpPr>
          <p:cNvPr id="14" name="Straight Connector 13">
            <a:extLst>
              <a:ext uri="{FF2B5EF4-FFF2-40B4-BE49-F238E27FC236}">
                <a16:creationId xmlns:a16="http://schemas.microsoft.com/office/drawing/2014/main" id="{B02FC8F8-6FF9-4F82-8B8B-675F4B5CD649}"/>
              </a:ext>
            </a:extLst>
          </p:cNvPr>
          <p:cNvCxnSpPr>
            <a:cxnSpLocks/>
            <a:endCxn id="9" idx="0"/>
          </p:cNvCxnSpPr>
          <p:nvPr/>
        </p:nvCxnSpPr>
        <p:spPr>
          <a:xfrm>
            <a:off x="5730949" y="900578"/>
            <a:ext cx="90554" cy="5144712"/>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97817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B2C28-39DF-4074-A89C-C9C813DB7CF9}"/>
              </a:ext>
            </a:extLst>
          </p:cNvPr>
          <p:cNvSpPr>
            <a:spLocks noGrp="1"/>
          </p:cNvSpPr>
          <p:nvPr>
            <p:ph type="title"/>
          </p:nvPr>
        </p:nvSpPr>
        <p:spPr>
          <a:xfrm>
            <a:off x="514349" y="251783"/>
            <a:ext cx="9829800" cy="457200"/>
          </a:xfrm>
        </p:spPr>
        <p:txBody>
          <a:bodyPr/>
          <a:lstStyle/>
          <a:p>
            <a:r>
              <a:rPr lang="en-IE" dirty="0"/>
              <a:t>OBJECTIVE OF THE PLAYBOOK</a:t>
            </a:r>
          </a:p>
        </p:txBody>
      </p:sp>
      <p:sp>
        <p:nvSpPr>
          <p:cNvPr id="3" name="Content Placeholder 2">
            <a:extLst>
              <a:ext uri="{FF2B5EF4-FFF2-40B4-BE49-F238E27FC236}">
                <a16:creationId xmlns:a16="http://schemas.microsoft.com/office/drawing/2014/main" id="{5556519C-7470-466F-9D3D-E37E7DDDE23A}"/>
              </a:ext>
            </a:extLst>
          </p:cNvPr>
          <p:cNvSpPr>
            <a:spLocks noGrp="1"/>
          </p:cNvSpPr>
          <p:nvPr>
            <p:ph idx="10"/>
          </p:nvPr>
        </p:nvSpPr>
        <p:spPr>
          <a:xfrm>
            <a:off x="516000" y="956302"/>
            <a:ext cx="11160000" cy="2680034"/>
          </a:xfrm>
        </p:spPr>
        <p:txBody>
          <a:bodyPr/>
          <a:lstStyle/>
          <a:p>
            <a:r>
              <a:rPr lang="en-IE" sz="2800" dirty="0"/>
              <a:t>The objective of this playbook is to provide a </a:t>
            </a:r>
            <a:r>
              <a:rPr lang="en-IE" sz="2800" b="1" dirty="0"/>
              <a:t>practical guide </a:t>
            </a:r>
            <a:r>
              <a:rPr lang="en-IE" sz="2800" dirty="0"/>
              <a:t>on how to manage building a TEOA foundation within your site.</a:t>
            </a:r>
          </a:p>
          <a:p>
            <a:r>
              <a:rPr lang="en-IE" sz="2800" dirty="0"/>
              <a:t> </a:t>
            </a:r>
          </a:p>
          <a:p>
            <a:r>
              <a:rPr lang="en-IE" sz="2800" dirty="0"/>
              <a:t>It details the </a:t>
            </a:r>
            <a:r>
              <a:rPr lang="en-IE" sz="2800" b="1" dirty="0"/>
              <a:t>basic overall sequence </a:t>
            </a:r>
            <a:r>
              <a:rPr lang="en-IE" sz="2800" dirty="0"/>
              <a:t>of activities needed to drive operating performance, as well as key insights and considerations. </a:t>
            </a:r>
          </a:p>
          <a:p>
            <a:endParaRPr lang="en-IE" sz="2800" dirty="0"/>
          </a:p>
          <a:p>
            <a:r>
              <a:rPr lang="en-IE" sz="2800" dirty="0"/>
              <a:t>The playbook will outline several steps in a structured approach to getting started and </a:t>
            </a:r>
            <a:r>
              <a:rPr lang="en-IE" sz="2800" b="1" dirty="0"/>
              <a:t>implementing fundamental elements.</a:t>
            </a:r>
          </a:p>
        </p:txBody>
      </p:sp>
      <p:sp>
        <p:nvSpPr>
          <p:cNvPr id="4" name="Rectangle 3">
            <a:extLst>
              <a:ext uri="{FF2B5EF4-FFF2-40B4-BE49-F238E27FC236}">
                <a16:creationId xmlns:a16="http://schemas.microsoft.com/office/drawing/2014/main" id="{43F2172C-AABF-4B80-A801-E527E0BAEC19}"/>
              </a:ext>
            </a:extLst>
          </p:cNvPr>
          <p:cNvSpPr/>
          <p:nvPr/>
        </p:nvSpPr>
        <p:spPr>
          <a:xfrm>
            <a:off x="726999" y="5467907"/>
            <a:ext cx="11159999" cy="923330"/>
          </a:xfrm>
          <a:prstGeom prst="rect">
            <a:avLst/>
          </a:prstGeom>
        </p:spPr>
        <p:txBody>
          <a:bodyPr wrap="square">
            <a:spAutoFit/>
          </a:bodyPr>
          <a:lstStyle/>
          <a:p>
            <a:r>
              <a:rPr lang="en-IE" dirty="0"/>
              <a:t>Note: This playbook is focused on transformation in manufacturing and logistics operations; although the transformation approach and methodology is similar, this playbook will not address transformation in the business processes. Please refer to the Business Processes Playbook (in development) for more detail. </a:t>
            </a:r>
          </a:p>
        </p:txBody>
      </p:sp>
      <p:pic>
        <p:nvPicPr>
          <p:cNvPr id="5" name="Graphic 4" descr="Warning">
            <a:extLst>
              <a:ext uri="{FF2B5EF4-FFF2-40B4-BE49-F238E27FC236}">
                <a16:creationId xmlns:a16="http://schemas.microsoft.com/office/drawing/2014/main" id="{6302F895-1457-4BDA-850E-2C20EC93A6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734" y="5467907"/>
            <a:ext cx="631265" cy="631265"/>
          </a:xfrm>
          <a:prstGeom prst="rect">
            <a:avLst/>
          </a:prstGeom>
        </p:spPr>
      </p:pic>
      <p:grpSp>
        <p:nvGrpSpPr>
          <p:cNvPr id="6" name="Group 5">
            <a:extLst>
              <a:ext uri="{FF2B5EF4-FFF2-40B4-BE49-F238E27FC236}">
                <a16:creationId xmlns:a16="http://schemas.microsoft.com/office/drawing/2014/main" id="{52F5393D-A8DB-4E28-A9EC-1756CF9B3E46}"/>
              </a:ext>
            </a:extLst>
          </p:cNvPr>
          <p:cNvGrpSpPr/>
          <p:nvPr/>
        </p:nvGrpSpPr>
        <p:grpSpPr>
          <a:xfrm>
            <a:off x="35768" y="6193279"/>
            <a:ext cx="1289135" cy="664721"/>
            <a:chOff x="8407400" y="5845092"/>
            <a:chExt cx="1289135" cy="672559"/>
          </a:xfrm>
        </p:grpSpPr>
        <p:pic>
          <p:nvPicPr>
            <p:cNvPr id="7" name="Graphic 6" descr="List">
              <a:hlinkClick r:id="rId4" action="ppaction://hlinksldjump"/>
              <a:extLst>
                <a:ext uri="{FF2B5EF4-FFF2-40B4-BE49-F238E27FC236}">
                  <a16:creationId xmlns:a16="http://schemas.microsoft.com/office/drawing/2014/main" id="{F7EA0260-1FA9-444E-9E4D-D29D417496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57825" y="5845092"/>
              <a:ext cx="468725" cy="468725"/>
            </a:xfrm>
            <a:prstGeom prst="rect">
              <a:avLst/>
            </a:prstGeom>
          </p:spPr>
        </p:pic>
        <p:sp>
          <p:nvSpPr>
            <p:cNvPr id="8" name="Rectangle 7">
              <a:extLst>
                <a:ext uri="{FF2B5EF4-FFF2-40B4-BE49-F238E27FC236}">
                  <a16:creationId xmlns:a16="http://schemas.microsoft.com/office/drawing/2014/main" id="{AD8EE49E-D205-4695-8636-5863612BB5EA}"/>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9" name="Picture 8">
            <a:hlinkClick r:id="rId7" action="ppaction://hlinksldjump"/>
            <a:extLst>
              <a:ext uri="{FF2B5EF4-FFF2-40B4-BE49-F238E27FC236}">
                <a16:creationId xmlns:a16="http://schemas.microsoft.com/office/drawing/2014/main" id="{8F02CD3C-0500-4A87-9881-C456346AD284}"/>
              </a:ext>
            </a:extLst>
          </p:cNvPr>
          <p:cNvPicPr>
            <a:picLocks noChangeAspect="1"/>
          </p:cNvPicPr>
          <p:nvPr/>
        </p:nvPicPr>
        <p:blipFill>
          <a:blip r:embed="rId8"/>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31969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9E413-A4E1-4251-82C0-2B3DAB419FD0}"/>
              </a:ext>
            </a:extLst>
          </p:cNvPr>
          <p:cNvSpPr>
            <a:spLocks noGrp="1"/>
          </p:cNvSpPr>
          <p:nvPr>
            <p:ph type="title"/>
          </p:nvPr>
        </p:nvSpPr>
        <p:spPr>
          <a:xfrm>
            <a:off x="631890" y="126558"/>
            <a:ext cx="9829800" cy="457200"/>
          </a:xfrm>
        </p:spPr>
        <p:txBody>
          <a:bodyPr/>
          <a:lstStyle/>
          <a:p>
            <a:r>
              <a:rPr lang="en-IE" dirty="0"/>
              <a:t>What Is TE OPERATING ADVANTAGE (TEOA)?</a:t>
            </a:r>
          </a:p>
        </p:txBody>
      </p:sp>
      <p:sp>
        <p:nvSpPr>
          <p:cNvPr id="3" name="Content Placeholder 2">
            <a:extLst>
              <a:ext uri="{FF2B5EF4-FFF2-40B4-BE49-F238E27FC236}">
                <a16:creationId xmlns:a16="http://schemas.microsoft.com/office/drawing/2014/main" id="{AE7D15CF-7ABA-4BCF-A3C0-27CE70ABB29D}"/>
              </a:ext>
            </a:extLst>
          </p:cNvPr>
          <p:cNvSpPr>
            <a:spLocks noGrp="1"/>
          </p:cNvSpPr>
          <p:nvPr>
            <p:ph idx="10"/>
          </p:nvPr>
        </p:nvSpPr>
        <p:spPr>
          <a:xfrm>
            <a:off x="302860" y="946774"/>
            <a:ext cx="5190686" cy="5718457"/>
          </a:xfrm>
        </p:spPr>
        <p:txBody>
          <a:bodyPr/>
          <a:lstStyle/>
          <a:p>
            <a:r>
              <a:rPr lang="en-US" altLang="nl-BE" b="1" dirty="0">
                <a:latin typeface="Arial" pitchFamily="34" charset="0"/>
                <a:cs typeface="Arial" pitchFamily="34" charset="0"/>
              </a:rPr>
              <a:t>TEOA (TE Operating Advantage) </a:t>
            </a:r>
          </a:p>
          <a:p>
            <a:pPr marL="285750" indent="-285750">
              <a:buFont typeface="Arial" panose="020B0604020202020204" pitchFamily="34" charset="0"/>
              <a:buChar char="•"/>
            </a:pPr>
            <a:r>
              <a:rPr lang="en-US" altLang="nl-BE" dirty="0">
                <a:latin typeface="Arial" pitchFamily="34" charset="0"/>
                <a:cs typeface="Arial" pitchFamily="34" charset="0"/>
              </a:rPr>
              <a:t>Is our </a:t>
            </a:r>
            <a:r>
              <a:rPr lang="en-US" altLang="nl-BE" b="1" dirty="0">
                <a:latin typeface="Arial" pitchFamily="34" charset="0"/>
                <a:cs typeface="Arial" pitchFamily="34" charset="0"/>
              </a:rPr>
              <a:t>Business System </a:t>
            </a:r>
            <a:r>
              <a:rPr lang="en-US" altLang="nl-BE" dirty="0">
                <a:latin typeface="Arial" pitchFamily="34" charset="0"/>
                <a:cs typeface="Arial" pitchFamily="34" charset="0"/>
              </a:rPr>
              <a:t>that drives every aspect of our </a:t>
            </a:r>
            <a:r>
              <a:rPr lang="en-US" altLang="nl-BE" b="1" dirty="0">
                <a:latin typeface="Arial" pitchFamily="34" charset="0"/>
                <a:cs typeface="Arial" pitchFamily="34" charset="0"/>
              </a:rPr>
              <a:t>culture and performance</a:t>
            </a:r>
            <a:r>
              <a:rPr lang="en-IE" dirty="0"/>
              <a:t>. </a:t>
            </a:r>
          </a:p>
          <a:p>
            <a:pPr marL="285750" indent="-285750">
              <a:buFont typeface="Arial" panose="020B0604020202020204" pitchFamily="34" charset="0"/>
              <a:buChar char="•"/>
            </a:pPr>
            <a:r>
              <a:rPr lang="en-IE" dirty="0"/>
              <a:t>Is our </a:t>
            </a:r>
            <a:r>
              <a:rPr lang="en-IE" b="1" dirty="0"/>
              <a:t>Business Philosophy </a:t>
            </a:r>
            <a:r>
              <a:rPr lang="en-IE" dirty="0"/>
              <a:t>that aligns all activities in TE Connectivity to support the </a:t>
            </a:r>
            <a:r>
              <a:rPr lang="en-IE" b="1" dirty="0"/>
              <a:t>long-term strategic goals</a:t>
            </a:r>
            <a:r>
              <a:rPr lang="en-IE" dirty="0"/>
              <a:t> of our company.</a:t>
            </a:r>
          </a:p>
          <a:p>
            <a:pPr marL="285750" indent="-285750">
              <a:buFont typeface="Arial" panose="020B0604020202020204" pitchFamily="34" charset="0"/>
              <a:buChar char="•"/>
            </a:pPr>
            <a:r>
              <a:rPr lang="en-IE" dirty="0"/>
              <a:t>Is based on </a:t>
            </a:r>
            <a:r>
              <a:rPr lang="en-IE" b="1" dirty="0"/>
              <a:t>relentless elimination of waste </a:t>
            </a:r>
            <a:r>
              <a:rPr lang="en-IE" dirty="0"/>
              <a:t>to </a:t>
            </a:r>
            <a:r>
              <a:rPr lang="en-IE" b="1" dirty="0"/>
              <a:t>continuously improve </a:t>
            </a:r>
            <a:r>
              <a:rPr lang="en-IE" dirty="0"/>
              <a:t>Safety, Quality, Delivery, Productivity and Lead time.</a:t>
            </a:r>
          </a:p>
          <a:p>
            <a:pPr marL="285750" indent="-285750">
              <a:buFont typeface="Arial" panose="020B0604020202020204" pitchFamily="34" charset="0"/>
              <a:buChar char="•"/>
            </a:pPr>
            <a:r>
              <a:rPr lang="en-IE" dirty="0"/>
              <a:t>TEOA provides a range of </a:t>
            </a:r>
            <a:r>
              <a:rPr lang="en-IE" b="1" dirty="0"/>
              <a:t>proven tools, processes &amp; resources</a:t>
            </a:r>
            <a:r>
              <a:rPr lang="en-IE" dirty="0"/>
              <a:t> that you can use to examine all aspects of your work and systematically </a:t>
            </a:r>
            <a:r>
              <a:rPr lang="en-IE" b="1" dirty="0"/>
              <a:t>drive improvement </a:t>
            </a:r>
            <a:r>
              <a:rPr lang="en-IE" dirty="0"/>
              <a:t>activities </a:t>
            </a:r>
            <a:r>
              <a:rPr lang="en-IE" b="1" dirty="0"/>
              <a:t>by engaging employees </a:t>
            </a:r>
            <a:r>
              <a:rPr lang="en-IE" dirty="0"/>
              <a:t>in doing the right things to achieve and </a:t>
            </a:r>
            <a:r>
              <a:rPr lang="en-IE" b="1" dirty="0"/>
              <a:t>sustain</a:t>
            </a:r>
            <a:r>
              <a:rPr lang="en-IE" dirty="0"/>
              <a:t> improvements.</a:t>
            </a:r>
          </a:p>
          <a:p>
            <a:pPr marL="285750" indent="-285750">
              <a:buFont typeface="Arial" panose="020B0604020202020204" pitchFamily="34" charset="0"/>
              <a:buChar char="•"/>
            </a:pPr>
            <a:r>
              <a:rPr lang="en-IE" b="1" dirty="0"/>
              <a:t>Customer Focus </a:t>
            </a:r>
            <a:r>
              <a:rPr lang="en-IE" dirty="0"/>
              <a:t>is the driving force behind TEOA.  </a:t>
            </a:r>
          </a:p>
          <a:p>
            <a:pPr marL="285750" indent="-285750">
              <a:buFont typeface="Arial" panose="020B0604020202020204" pitchFamily="34" charset="0"/>
              <a:buChar char="•"/>
            </a:pPr>
            <a:r>
              <a:rPr lang="en-IE" dirty="0"/>
              <a:t>All employees in every function of the company are aligned to the goal of </a:t>
            </a:r>
            <a:r>
              <a:rPr lang="en-IE" b="1" dirty="0"/>
              <a:t>meeting our customer’s needs</a:t>
            </a:r>
            <a:r>
              <a:rPr lang="en-IE" dirty="0"/>
              <a:t>.</a:t>
            </a:r>
          </a:p>
        </p:txBody>
      </p:sp>
      <p:grpSp>
        <p:nvGrpSpPr>
          <p:cNvPr id="28" name="Group 27">
            <a:extLst>
              <a:ext uri="{FF2B5EF4-FFF2-40B4-BE49-F238E27FC236}">
                <a16:creationId xmlns:a16="http://schemas.microsoft.com/office/drawing/2014/main" id="{D13CB0A7-A6D9-40F8-A306-0F862D23E011}"/>
              </a:ext>
            </a:extLst>
          </p:cNvPr>
          <p:cNvGrpSpPr/>
          <p:nvPr/>
        </p:nvGrpSpPr>
        <p:grpSpPr>
          <a:xfrm>
            <a:off x="5481312" y="946774"/>
            <a:ext cx="6952945" cy="4193582"/>
            <a:chOff x="5475767" y="920679"/>
            <a:chExt cx="6952945" cy="4193582"/>
          </a:xfrm>
        </p:grpSpPr>
        <p:grpSp>
          <p:nvGrpSpPr>
            <p:cNvPr id="25" name="Group 24">
              <a:extLst>
                <a:ext uri="{FF2B5EF4-FFF2-40B4-BE49-F238E27FC236}">
                  <a16:creationId xmlns:a16="http://schemas.microsoft.com/office/drawing/2014/main" id="{7F97F9C3-5E20-45AA-8468-966AC62BFC5E}"/>
                </a:ext>
              </a:extLst>
            </p:cNvPr>
            <p:cNvGrpSpPr/>
            <p:nvPr/>
          </p:nvGrpSpPr>
          <p:grpSpPr>
            <a:xfrm>
              <a:off x="5475767" y="920679"/>
              <a:ext cx="6952945" cy="4193582"/>
              <a:chOff x="1823056" y="1204968"/>
              <a:chExt cx="8638634" cy="5296607"/>
            </a:xfrm>
          </p:grpSpPr>
          <p:sp>
            <p:nvSpPr>
              <p:cNvPr id="5" name="Rectangle 4">
                <a:extLst>
                  <a:ext uri="{FF2B5EF4-FFF2-40B4-BE49-F238E27FC236}">
                    <a16:creationId xmlns:a16="http://schemas.microsoft.com/office/drawing/2014/main" id="{52FAEA61-61B9-44E8-AE59-5CC1C8D28BFE}"/>
                  </a:ext>
                </a:extLst>
              </p:cNvPr>
              <p:cNvSpPr/>
              <p:nvPr/>
            </p:nvSpPr>
            <p:spPr bwMode="auto">
              <a:xfrm>
                <a:off x="4287745" y="2784294"/>
                <a:ext cx="3408945" cy="3040342"/>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nl-BE" sz="1400" kern="0" baseline="-25000" dirty="0">
                  <a:solidFill>
                    <a:srgbClr val="FFFFFF"/>
                  </a:solidFill>
                  <a:ea typeface="Arial" charset="0"/>
                  <a:cs typeface="Arial" charset="0"/>
                </a:endParaRPr>
              </a:p>
            </p:txBody>
          </p:sp>
          <p:grpSp>
            <p:nvGrpSpPr>
              <p:cNvPr id="6" name="Group 5">
                <a:extLst>
                  <a:ext uri="{FF2B5EF4-FFF2-40B4-BE49-F238E27FC236}">
                    <a16:creationId xmlns:a16="http://schemas.microsoft.com/office/drawing/2014/main" id="{F5E0C163-57F6-4077-AF02-81A4C6B4EF62}"/>
                  </a:ext>
                </a:extLst>
              </p:cNvPr>
              <p:cNvGrpSpPr/>
              <p:nvPr/>
            </p:nvGrpSpPr>
            <p:grpSpPr>
              <a:xfrm>
                <a:off x="1823056" y="2743996"/>
                <a:ext cx="2464689" cy="3291479"/>
                <a:chOff x="453602" y="2332669"/>
                <a:chExt cx="2464689" cy="3291479"/>
              </a:xfrm>
            </p:grpSpPr>
            <p:sp>
              <p:nvSpPr>
                <p:cNvPr id="7" name="Rectangle 6">
                  <a:extLst>
                    <a:ext uri="{FF2B5EF4-FFF2-40B4-BE49-F238E27FC236}">
                      <a16:creationId xmlns:a16="http://schemas.microsoft.com/office/drawing/2014/main" id="{76916EBB-0FAC-4769-9753-4EED438C7233}"/>
                    </a:ext>
                  </a:extLst>
                </p:cNvPr>
                <p:cNvSpPr/>
                <p:nvPr/>
              </p:nvSpPr>
              <p:spPr bwMode="auto">
                <a:xfrm>
                  <a:off x="542620" y="2332669"/>
                  <a:ext cx="2342692" cy="3291479"/>
                </a:xfrm>
                <a:prstGeom prst="rect">
                  <a:avLst/>
                </a:prstGeom>
                <a:solidFill>
                  <a:srgbClr val="0073AE"/>
                </a:solidFill>
                <a:ln w="25400" cap="flat" cmpd="sng" algn="ctr">
                  <a:solidFill>
                    <a:srgbClr val="FFFFFF"/>
                  </a:solidFill>
                  <a:prstDash val="solid"/>
                  <a:headEnd type="none" w="med" len="med"/>
                  <a:tailEnd type="none" w="med" len="med"/>
                </a:ln>
                <a:effectLst/>
              </p:spPr>
              <p:txBody>
                <a:bodyPr vert="wordArtVert" anchor="ctr"/>
                <a:lstStyle/>
                <a:p>
                  <a:pPr algn="ctr" fontAlgn="base">
                    <a:spcBef>
                      <a:spcPct val="0"/>
                    </a:spcBef>
                    <a:spcAft>
                      <a:spcPct val="0"/>
                    </a:spcAft>
                    <a:defRPr/>
                  </a:pPr>
                  <a:endParaRPr lang="en-US" sz="1100" kern="0" baseline="-25000" dirty="0">
                    <a:solidFill>
                      <a:srgbClr val="FFFFFF"/>
                    </a:solidFill>
                    <a:ea typeface="MS PGothic"/>
                  </a:endParaRPr>
                </a:p>
              </p:txBody>
            </p:sp>
            <p:grpSp>
              <p:nvGrpSpPr>
                <p:cNvPr id="8" name="Group 7">
                  <a:extLst>
                    <a:ext uri="{FF2B5EF4-FFF2-40B4-BE49-F238E27FC236}">
                      <a16:creationId xmlns:a16="http://schemas.microsoft.com/office/drawing/2014/main" id="{A6504154-3144-4D4C-A1B7-1BDEAFA4C0E1}"/>
                    </a:ext>
                  </a:extLst>
                </p:cNvPr>
                <p:cNvGrpSpPr/>
                <p:nvPr/>
              </p:nvGrpSpPr>
              <p:grpSpPr>
                <a:xfrm>
                  <a:off x="453602" y="2433778"/>
                  <a:ext cx="2464689" cy="2650984"/>
                  <a:chOff x="434552" y="2433778"/>
                  <a:chExt cx="2464689" cy="2650984"/>
                </a:xfrm>
              </p:grpSpPr>
              <p:sp>
                <p:nvSpPr>
                  <p:cNvPr id="9" name="TextBox 8">
                    <a:extLst>
                      <a:ext uri="{FF2B5EF4-FFF2-40B4-BE49-F238E27FC236}">
                        <a16:creationId xmlns:a16="http://schemas.microsoft.com/office/drawing/2014/main" id="{4959B134-FE0E-40B5-99B3-F23247B7FDE0}"/>
                      </a:ext>
                    </a:extLst>
                  </p:cNvPr>
                  <p:cNvSpPr txBox="1"/>
                  <p:nvPr/>
                </p:nvSpPr>
                <p:spPr>
                  <a:xfrm>
                    <a:off x="434552" y="2433778"/>
                    <a:ext cx="2464689" cy="2650984"/>
                  </a:xfrm>
                  <a:prstGeom prst="rect">
                    <a:avLst/>
                  </a:prstGeom>
                  <a:noFill/>
                  <a:ln>
                    <a:noFill/>
                  </a:ln>
                </p:spPr>
                <p:txBody>
                  <a:bodyPr wrap="square" rtlCol="0">
                    <a:spAutoFit/>
                  </a:bodyPr>
                  <a:lstStyle/>
                  <a:p>
                    <a:pPr algn="ctr" fontAlgn="base">
                      <a:spcBef>
                        <a:spcPct val="0"/>
                      </a:spcBef>
                      <a:spcAft>
                        <a:spcPct val="0"/>
                      </a:spcAft>
                      <a:defRPr/>
                    </a:pPr>
                    <a:r>
                      <a:rPr lang="nl-BE" sz="1400" b="1" kern="0" dirty="0">
                        <a:solidFill>
                          <a:srgbClr val="FFFFFF"/>
                        </a:solidFill>
                        <a:ea typeface="MS PGothic"/>
                      </a:rPr>
                      <a:t>PROCESS IMPROVEMENT</a:t>
                    </a: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r>
                      <a:rPr lang="nl-BE" sz="1200" b="1" kern="0" dirty="0">
                        <a:solidFill>
                          <a:srgbClr val="FFFFFF"/>
                        </a:solidFill>
                        <a:ea typeface="MS PGothic"/>
                      </a:rPr>
                      <a:t>TEOA TOOLS</a:t>
                    </a:r>
                  </a:p>
                </p:txBody>
              </p:sp>
              <p:pic>
                <p:nvPicPr>
                  <p:cNvPr id="10" name="Picture 3">
                    <a:extLst>
                      <a:ext uri="{FF2B5EF4-FFF2-40B4-BE49-F238E27FC236}">
                        <a16:creationId xmlns:a16="http://schemas.microsoft.com/office/drawing/2014/main" id="{64A15572-2F4F-4816-AEC4-5709F4194ED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0938" y="3178711"/>
                    <a:ext cx="2080308" cy="15341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1" name="Group 10">
                <a:extLst>
                  <a:ext uri="{FF2B5EF4-FFF2-40B4-BE49-F238E27FC236}">
                    <a16:creationId xmlns:a16="http://schemas.microsoft.com/office/drawing/2014/main" id="{5FAF6D36-0D0F-483D-A6C5-81394472E635}"/>
                  </a:ext>
                </a:extLst>
              </p:cNvPr>
              <p:cNvGrpSpPr/>
              <p:nvPr/>
            </p:nvGrpSpPr>
            <p:grpSpPr>
              <a:xfrm>
                <a:off x="7696689" y="2743995"/>
                <a:ext cx="2387138" cy="3291480"/>
                <a:chOff x="6327236" y="2332669"/>
                <a:chExt cx="2387138" cy="3291480"/>
              </a:xfrm>
              <a:solidFill>
                <a:srgbClr val="0073AE"/>
              </a:solidFill>
            </p:grpSpPr>
            <p:sp>
              <p:nvSpPr>
                <p:cNvPr id="12" name="TextBox 11">
                  <a:extLst>
                    <a:ext uri="{FF2B5EF4-FFF2-40B4-BE49-F238E27FC236}">
                      <a16:creationId xmlns:a16="http://schemas.microsoft.com/office/drawing/2014/main" id="{8740B8B1-8F1A-49CB-BF00-1430A7A0922A}"/>
                    </a:ext>
                  </a:extLst>
                </p:cNvPr>
                <p:cNvSpPr txBox="1"/>
                <p:nvPr/>
              </p:nvSpPr>
              <p:spPr>
                <a:xfrm>
                  <a:off x="6327236" y="2332669"/>
                  <a:ext cx="2387138" cy="3291480"/>
                </a:xfrm>
                <a:prstGeom prst="rect">
                  <a:avLst/>
                </a:prstGeom>
                <a:grpFill/>
                <a:ln w="25400" cap="flat" cmpd="sng" algn="ctr">
                  <a:solidFill>
                    <a:srgbClr val="FFFFFF"/>
                  </a:solidFill>
                  <a:prstDash val="solid"/>
                </a:ln>
                <a:effectLst/>
              </p:spPr>
              <p:txBody>
                <a:bodyPr wrap="square" rtlCol="0">
                  <a:noAutofit/>
                </a:bodyPr>
                <a:lstStyle/>
                <a:p>
                  <a:pPr algn="ctr" fontAlgn="base">
                    <a:spcBef>
                      <a:spcPct val="0"/>
                    </a:spcBef>
                    <a:spcAft>
                      <a:spcPct val="0"/>
                    </a:spcAft>
                    <a:defRPr/>
                  </a:pPr>
                  <a:r>
                    <a:rPr lang="nl-BE" sz="1400" b="1" kern="0" dirty="0">
                      <a:solidFill>
                        <a:srgbClr val="FFFFFF"/>
                      </a:solidFill>
                      <a:ea typeface="MS PGothic"/>
                      <a:cs typeface="Arial" charset="0"/>
                    </a:rPr>
                    <a:t>PEOPLE DEVELOPMENT</a:t>
                  </a: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r>
                    <a:rPr lang="nl-BE" sz="1200" b="1" kern="0" dirty="0">
                      <a:solidFill>
                        <a:srgbClr val="FFFFFF"/>
                      </a:solidFill>
                      <a:ea typeface="MS PGothic"/>
                    </a:rPr>
                    <a:t>BUILDING CAPABILITIES</a:t>
                  </a:r>
                </a:p>
              </p:txBody>
            </p:sp>
            <p:pic>
              <p:nvPicPr>
                <p:cNvPr id="13" name="Picture 4">
                  <a:extLst>
                    <a:ext uri="{FF2B5EF4-FFF2-40B4-BE49-F238E27FC236}">
                      <a16:creationId xmlns:a16="http://schemas.microsoft.com/office/drawing/2014/main" id="{B69CB5D5-B913-4D72-AEA6-08D38DAF6DA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8616" y="3264492"/>
                  <a:ext cx="964721" cy="1374093"/>
                </a:xfrm>
                <a:prstGeom prst="rect">
                  <a:avLst/>
                </a:prstGeom>
                <a:grpFill/>
                <a:ln w="9525">
                  <a:solidFill>
                    <a:srgbClr val="0073AE"/>
                  </a:solidFill>
                  <a:miter lim="800000"/>
                  <a:headEnd/>
                  <a:tailEnd/>
                </a:ln>
              </p:spPr>
            </p:pic>
          </p:grpSp>
          <p:grpSp>
            <p:nvGrpSpPr>
              <p:cNvPr id="14" name="Group 13">
                <a:extLst>
                  <a:ext uri="{FF2B5EF4-FFF2-40B4-BE49-F238E27FC236}">
                    <a16:creationId xmlns:a16="http://schemas.microsoft.com/office/drawing/2014/main" id="{F005908B-99F0-40DF-8FA4-A60021596401}"/>
                  </a:ext>
                </a:extLst>
              </p:cNvPr>
              <p:cNvGrpSpPr/>
              <p:nvPr/>
            </p:nvGrpSpPr>
            <p:grpSpPr>
              <a:xfrm>
                <a:off x="1926003" y="1398190"/>
                <a:ext cx="8535687" cy="1463246"/>
                <a:chOff x="556549" y="986864"/>
                <a:chExt cx="8535687" cy="1463246"/>
              </a:xfrm>
            </p:grpSpPr>
            <p:sp>
              <p:nvSpPr>
                <p:cNvPr id="15" name="Isosceles Triangle 14">
                  <a:extLst>
                    <a:ext uri="{FF2B5EF4-FFF2-40B4-BE49-F238E27FC236}">
                      <a16:creationId xmlns:a16="http://schemas.microsoft.com/office/drawing/2014/main" id="{77D71345-4A83-4532-B5B9-D3090EF430AC}"/>
                    </a:ext>
                  </a:extLst>
                </p:cNvPr>
                <p:cNvSpPr/>
                <p:nvPr/>
              </p:nvSpPr>
              <p:spPr bwMode="auto">
                <a:xfrm>
                  <a:off x="556549" y="986864"/>
                  <a:ext cx="8156129" cy="1324023"/>
                </a:xfrm>
                <a:prstGeom prst="triangle">
                  <a:avLst/>
                </a:prstGeom>
                <a:solidFill>
                  <a:srgbClr val="F08B1D"/>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nl-BE" sz="2000" kern="0" baseline="-25000" dirty="0">
                    <a:solidFill>
                      <a:srgbClr val="FFFFFF"/>
                    </a:solidFill>
                    <a:ea typeface="Arial" charset="0"/>
                    <a:cs typeface="Arial" charset="0"/>
                  </a:endParaRPr>
                </a:p>
              </p:txBody>
            </p:sp>
            <p:pic>
              <p:nvPicPr>
                <p:cNvPr id="16" name="Picture 35">
                  <a:extLst>
                    <a:ext uri="{FF2B5EF4-FFF2-40B4-BE49-F238E27FC236}">
                      <a16:creationId xmlns:a16="http://schemas.microsoft.com/office/drawing/2014/main" id="{B9674781-58F2-4E6E-B3C9-DA43C150DC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0945" y="1013962"/>
                  <a:ext cx="3490655" cy="1026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9">
                  <a:extLst>
                    <a:ext uri="{FF2B5EF4-FFF2-40B4-BE49-F238E27FC236}">
                      <a16:creationId xmlns:a16="http://schemas.microsoft.com/office/drawing/2014/main" id="{C07643FB-FBC3-4C97-89FF-A325997B31BB}"/>
                    </a:ext>
                  </a:extLst>
                </p:cNvPr>
                <p:cNvSpPr>
                  <a:spLocks noChangeArrowheads="1"/>
                </p:cNvSpPr>
                <p:nvPr/>
              </p:nvSpPr>
              <p:spPr bwMode="auto">
                <a:xfrm>
                  <a:off x="556549" y="1997673"/>
                  <a:ext cx="8535687" cy="452437"/>
                </a:xfrm>
                <a:prstGeom prst="rect">
                  <a:avLst/>
                </a:prstGeom>
                <a:noFill/>
                <a:ln>
                  <a:noFill/>
                </a:ln>
              </p:spPr>
              <p:txBody>
                <a:bodyPr/>
                <a:lstStyle/>
                <a:p>
                  <a:pPr marL="114300" indent="-114300" algn="ctr">
                    <a:defRPr/>
                  </a:pPr>
                  <a:r>
                    <a:rPr lang="en-US" sz="1100" b="1" kern="0" dirty="0">
                      <a:solidFill>
                        <a:srgbClr val="FFFFFF"/>
                      </a:solidFill>
                      <a:ea typeface="MS PGothic"/>
                      <a:cs typeface="Arial"/>
                    </a:rPr>
                    <a:t>We are Committed to Delivering an Extraordinary Customer Experience</a:t>
                  </a:r>
                </a:p>
              </p:txBody>
            </p:sp>
          </p:grpSp>
          <p:sp>
            <p:nvSpPr>
              <p:cNvPr id="18" name="Rectangle 5">
                <a:extLst>
                  <a:ext uri="{FF2B5EF4-FFF2-40B4-BE49-F238E27FC236}">
                    <a16:creationId xmlns:a16="http://schemas.microsoft.com/office/drawing/2014/main" id="{043926B4-1931-4063-BCFC-0751F0CCFC3F}"/>
                  </a:ext>
                </a:extLst>
              </p:cNvPr>
              <p:cNvSpPr>
                <a:spLocks noChangeArrowheads="1"/>
              </p:cNvSpPr>
              <p:nvPr/>
            </p:nvSpPr>
            <p:spPr bwMode="auto">
              <a:xfrm>
                <a:off x="1914021" y="5843298"/>
                <a:ext cx="8169807" cy="658277"/>
              </a:xfrm>
              <a:prstGeom prst="rect">
                <a:avLst/>
              </a:prstGeom>
              <a:gradFill flip="none" rotWithShape="1">
                <a:gsLst>
                  <a:gs pos="0">
                    <a:srgbClr val="0073AE">
                      <a:shade val="30000"/>
                      <a:satMod val="115000"/>
                    </a:srgbClr>
                  </a:gs>
                  <a:gs pos="50000">
                    <a:srgbClr val="0073AE">
                      <a:shade val="67500"/>
                      <a:satMod val="115000"/>
                    </a:srgbClr>
                  </a:gs>
                  <a:gs pos="100000">
                    <a:srgbClr val="0073AE">
                      <a:shade val="100000"/>
                      <a:satMod val="115000"/>
                    </a:srgbClr>
                  </a:gs>
                </a:gsLst>
                <a:lin ang="16200000" scaled="1"/>
                <a:tileRect/>
              </a:gradFill>
              <a:ln w="25400" cap="flat" cmpd="sng" algn="ctr">
                <a:solidFill>
                  <a:srgbClr val="FFFFFF"/>
                </a:solidFill>
                <a:prstDash val="solid"/>
                <a:headEnd/>
                <a:tailEnd/>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defRPr/>
                </a:pPr>
                <a:r>
                  <a:rPr lang="en-US" b="1" kern="0" dirty="0">
                    <a:solidFill>
                      <a:srgbClr val="F08B1D"/>
                    </a:solidFill>
                    <a:ea typeface="MS PGothic"/>
                  </a:rPr>
                  <a:t>MINDSET AND CULTURE </a:t>
                </a:r>
              </a:p>
            </p:txBody>
          </p:sp>
          <p:grpSp>
            <p:nvGrpSpPr>
              <p:cNvPr id="19" name="Group 18">
                <a:extLst>
                  <a:ext uri="{FF2B5EF4-FFF2-40B4-BE49-F238E27FC236}">
                    <a16:creationId xmlns:a16="http://schemas.microsoft.com/office/drawing/2014/main" id="{C4C3C0F8-7AE3-451B-9C09-4C85AC30ABF2}"/>
                  </a:ext>
                </a:extLst>
              </p:cNvPr>
              <p:cNvGrpSpPr/>
              <p:nvPr/>
            </p:nvGrpSpPr>
            <p:grpSpPr>
              <a:xfrm>
                <a:off x="4439277" y="2802956"/>
                <a:ext cx="3161354" cy="2809711"/>
                <a:chOff x="3069824" y="2391629"/>
                <a:chExt cx="3161354" cy="2809711"/>
              </a:xfrm>
            </p:grpSpPr>
            <p:pic>
              <p:nvPicPr>
                <p:cNvPr id="20" name="Picture 5">
                  <a:extLst>
                    <a:ext uri="{FF2B5EF4-FFF2-40B4-BE49-F238E27FC236}">
                      <a16:creationId xmlns:a16="http://schemas.microsoft.com/office/drawing/2014/main" id="{B1B32ADA-8567-48BB-BD0B-2A651280B6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86615" y="3576960"/>
                  <a:ext cx="694985" cy="546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6">
                  <a:extLst>
                    <a:ext uri="{FF2B5EF4-FFF2-40B4-BE49-F238E27FC236}">
                      <a16:creationId xmlns:a16="http://schemas.microsoft.com/office/drawing/2014/main" id="{ED47B691-1FCF-4A01-AFF5-0089F6D76D48}"/>
                    </a:ext>
                  </a:extLst>
                </p:cNvPr>
                <p:cNvSpPr txBox="1">
                  <a:spLocks noChangeArrowheads="1"/>
                </p:cNvSpPr>
                <p:nvPr/>
              </p:nvSpPr>
              <p:spPr bwMode="auto">
                <a:xfrm>
                  <a:off x="3069824" y="4833147"/>
                  <a:ext cx="3161354" cy="368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pPr>
                  <a:r>
                    <a:rPr lang="en-US" sz="1400" b="1" dirty="0">
                      <a:solidFill>
                        <a:srgbClr val="ACAFB6"/>
                      </a:solidFill>
                      <a:ea typeface="MS PGothic"/>
                    </a:rPr>
                    <a:t>Leadership Behaviors</a:t>
                  </a:r>
                </a:p>
              </p:txBody>
            </p:sp>
            <p:sp>
              <p:nvSpPr>
                <p:cNvPr id="22" name="TextBox 6">
                  <a:extLst>
                    <a:ext uri="{FF2B5EF4-FFF2-40B4-BE49-F238E27FC236}">
                      <a16:creationId xmlns:a16="http://schemas.microsoft.com/office/drawing/2014/main" id="{8F87252C-65E7-49FB-B12B-F0088CEA3DB8}"/>
                    </a:ext>
                  </a:extLst>
                </p:cNvPr>
                <p:cNvSpPr txBox="1">
                  <a:spLocks noChangeArrowheads="1"/>
                </p:cNvSpPr>
                <p:nvPr/>
              </p:nvSpPr>
              <p:spPr bwMode="auto">
                <a:xfrm>
                  <a:off x="3069824" y="2391629"/>
                  <a:ext cx="3161354" cy="405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pPr>
                  <a:r>
                    <a:rPr lang="en-US" sz="1600" b="1" dirty="0">
                      <a:solidFill>
                        <a:srgbClr val="575757"/>
                      </a:solidFill>
                      <a:ea typeface="MS PGothic"/>
                    </a:rPr>
                    <a:t>Management System</a:t>
                  </a:r>
                </a:p>
              </p:txBody>
            </p:sp>
            <p:pic>
              <p:nvPicPr>
                <p:cNvPr id="23" name="Picture 5">
                  <a:extLst>
                    <a:ext uri="{FF2B5EF4-FFF2-40B4-BE49-F238E27FC236}">
                      <a16:creationId xmlns:a16="http://schemas.microsoft.com/office/drawing/2014/main" id="{120ECF29-A794-40B2-A90C-53BE809E1DB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00653" y="2738179"/>
                  <a:ext cx="2547697" cy="2012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4" name="TextBox 23">
                <a:extLst>
                  <a:ext uri="{FF2B5EF4-FFF2-40B4-BE49-F238E27FC236}">
                    <a16:creationId xmlns:a16="http://schemas.microsoft.com/office/drawing/2014/main" id="{9884C0A3-B175-4446-BD10-056EC685498F}"/>
                  </a:ext>
                </a:extLst>
              </p:cNvPr>
              <p:cNvSpPr txBox="1"/>
              <p:nvPr/>
            </p:nvSpPr>
            <p:spPr>
              <a:xfrm>
                <a:off x="5400526" y="1204968"/>
                <a:ext cx="1353156" cy="369332"/>
              </a:xfrm>
              <a:prstGeom prst="rect">
                <a:avLst/>
              </a:prstGeom>
              <a:noFill/>
            </p:spPr>
            <p:txBody>
              <a:bodyPr wrap="square" rtlCol="0">
                <a:prstTxWarp prst="textDeflateBottom">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98300"/>
                    </a:solidFill>
                    <a:effectLst/>
                    <a:uLnTx/>
                    <a:uFillTx/>
                  </a:rPr>
                  <a:t>Strategy</a:t>
                </a:r>
              </a:p>
            </p:txBody>
          </p:sp>
        </p:grpSp>
        <p:sp>
          <p:nvSpPr>
            <p:cNvPr id="27" name="Oval 26">
              <a:extLst>
                <a:ext uri="{FF2B5EF4-FFF2-40B4-BE49-F238E27FC236}">
                  <a16:creationId xmlns:a16="http://schemas.microsoft.com/office/drawing/2014/main" id="{DAF95D34-616F-4B29-AF35-4F692F34294C}"/>
                </a:ext>
              </a:extLst>
            </p:cNvPr>
            <p:cNvSpPr/>
            <p:nvPr/>
          </p:nvSpPr>
          <p:spPr>
            <a:xfrm>
              <a:off x="8325903" y="1154579"/>
              <a:ext cx="1055610" cy="43399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pic>
        <p:nvPicPr>
          <p:cNvPr id="26" name="Picture 25">
            <a:extLst>
              <a:ext uri="{FF2B5EF4-FFF2-40B4-BE49-F238E27FC236}">
                <a16:creationId xmlns:a16="http://schemas.microsoft.com/office/drawing/2014/main" id="{D2AF4EC6-3EFE-4741-A1A6-DA04E9CE9520}"/>
              </a:ext>
            </a:extLst>
          </p:cNvPr>
          <p:cNvPicPr>
            <a:picLocks noChangeAspect="1"/>
          </p:cNvPicPr>
          <p:nvPr/>
        </p:nvPicPr>
        <p:blipFill>
          <a:blip r:embed="rId7"/>
          <a:stretch>
            <a:fillRect/>
          </a:stretch>
        </p:blipFill>
        <p:spPr>
          <a:xfrm>
            <a:off x="8518902" y="1154036"/>
            <a:ext cx="676905" cy="391543"/>
          </a:xfrm>
          <a:prstGeom prst="rect">
            <a:avLst/>
          </a:prstGeom>
        </p:spPr>
      </p:pic>
      <p:grpSp>
        <p:nvGrpSpPr>
          <p:cNvPr id="29" name="Group 28">
            <a:extLst>
              <a:ext uri="{FF2B5EF4-FFF2-40B4-BE49-F238E27FC236}">
                <a16:creationId xmlns:a16="http://schemas.microsoft.com/office/drawing/2014/main" id="{21F45C17-BB64-43B7-95B6-DEAE609E5628}"/>
              </a:ext>
            </a:extLst>
          </p:cNvPr>
          <p:cNvGrpSpPr/>
          <p:nvPr/>
        </p:nvGrpSpPr>
        <p:grpSpPr>
          <a:xfrm>
            <a:off x="35768" y="6193279"/>
            <a:ext cx="1289135" cy="664721"/>
            <a:chOff x="8407400" y="5845092"/>
            <a:chExt cx="1289135" cy="672559"/>
          </a:xfrm>
        </p:grpSpPr>
        <p:pic>
          <p:nvPicPr>
            <p:cNvPr id="30" name="Graphic 29" descr="List">
              <a:hlinkClick r:id="rId8" action="ppaction://hlinksldjump"/>
              <a:extLst>
                <a:ext uri="{FF2B5EF4-FFF2-40B4-BE49-F238E27FC236}">
                  <a16:creationId xmlns:a16="http://schemas.microsoft.com/office/drawing/2014/main" id="{B4E60AE6-FC73-4DF2-9E6A-25964284C8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57825" y="5845092"/>
              <a:ext cx="468725" cy="468725"/>
            </a:xfrm>
            <a:prstGeom prst="rect">
              <a:avLst/>
            </a:prstGeom>
          </p:spPr>
        </p:pic>
        <p:sp>
          <p:nvSpPr>
            <p:cNvPr id="31" name="Rectangle 30">
              <a:extLst>
                <a:ext uri="{FF2B5EF4-FFF2-40B4-BE49-F238E27FC236}">
                  <a16:creationId xmlns:a16="http://schemas.microsoft.com/office/drawing/2014/main" id="{C79F678F-29FF-4914-9C6E-21BB811938EA}"/>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32" name="Picture 31">
            <a:hlinkClick r:id="rId11" action="ppaction://hlinksldjump"/>
            <a:extLst>
              <a:ext uri="{FF2B5EF4-FFF2-40B4-BE49-F238E27FC236}">
                <a16:creationId xmlns:a16="http://schemas.microsoft.com/office/drawing/2014/main" id="{A74E4D46-EAE6-4A5F-B24D-9C87943D0FCF}"/>
              </a:ext>
            </a:extLst>
          </p:cNvPr>
          <p:cNvPicPr>
            <a:picLocks noChangeAspect="1"/>
          </p:cNvPicPr>
          <p:nvPr/>
        </p:nvPicPr>
        <p:blipFill>
          <a:blip r:embed="rId12"/>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24708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9E413-A4E1-4251-82C0-2B3DAB419FD0}"/>
              </a:ext>
            </a:extLst>
          </p:cNvPr>
          <p:cNvSpPr>
            <a:spLocks noGrp="1"/>
          </p:cNvSpPr>
          <p:nvPr>
            <p:ph type="title"/>
          </p:nvPr>
        </p:nvSpPr>
        <p:spPr>
          <a:xfrm>
            <a:off x="631890" y="126558"/>
            <a:ext cx="9829800" cy="457200"/>
          </a:xfrm>
        </p:spPr>
        <p:txBody>
          <a:bodyPr/>
          <a:lstStyle/>
          <a:p>
            <a:r>
              <a:rPr lang="en-IE" dirty="0"/>
              <a:t>What Is TE OPERATING ADVANTAGE (TEOA)?</a:t>
            </a:r>
          </a:p>
        </p:txBody>
      </p:sp>
      <p:sp>
        <p:nvSpPr>
          <p:cNvPr id="3" name="Content Placeholder 2">
            <a:extLst>
              <a:ext uri="{FF2B5EF4-FFF2-40B4-BE49-F238E27FC236}">
                <a16:creationId xmlns:a16="http://schemas.microsoft.com/office/drawing/2014/main" id="{AE7D15CF-7ABA-4BCF-A3C0-27CE70ABB29D}"/>
              </a:ext>
            </a:extLst>
          </p:cNvPr>
          <p:cNvSpPr>
            <a:spLocks noGrp="1"/>
          </p:cNvSpPr>
          <p:nvPr>
            <p:ph idx="10"/>
          </p:nvPr>
        </p:nvSpPr>
        <p:spPr>
          <a:xfrm>
            <a:off x="97171" y="1703787"/>
            <a:ext cx="2353843" cy="2435095"/>
          </a:xfrm>
        </p:spPr>
        <p:txBody>
          <a:bodyPr/>
          <a:lstStyle/>
          <a:p>
            <a:pPr marL="171450" indent="-171450">
              <a:spcBef>
                <a:spcPct val="0"/>
              </a:spcBef>
              <a:buFont typeface="Arial" panose="020B0604020202020204" pitchFamily="34" charset="0"/>
              <a:buChar char="•"/>
            </a:pPr>
            <a:r>
              <a:rPr lang="en-US" sz="1200" dirty="0">
                <a:solidFill>
                  <a:schemeClr val="tx1">
                    <a:lumMod val="95000"/>
                    <a:lumOff val="5000"/>
                  </a:schemeClr>
                </a:solidFill>
              </a:rPr>
              <a:t>The process Improvement pillar represents the most tangible and visible elements of TEOA.  This is </a:t>
            </a:r>
            <a:r>
              <a:rPr lang="en-US" sz="1200" b="1" dirty="0">
                <a:solidFill>
                  <a:schemeClr val="tx1">
                    <a:lumMod val="95000"/>
                    <a:lumOff val="5000"/>
                  </a:schemeClr>
                </a:solidFill>
              </a:rPr>
              <a:t>the mechanics of TEOA</a:t>
            </a:r>
            <a:r>
              <a:rPr lang="en-US" sz="1200" dirty="0">
                <a:solidFill>
                  <a:schemeClr val="tx1">
                    <a:lumMod val="95000"/>
                    <a:lumOff val="5000"/>
                  </a:schemeClr>
                </a:solidFill>
              </a:rPr>
              <a:t>, the tools, metrics, techniques, methods, etc. that are used to </a:t>
            </a:r>
            <a:r>
              <a:rPr lang="en-US" sz="1200" b="1" dirty="0">
                <a:solidFill>
                  <a:schemeClr val="tx1">
                    <a:lumMod val="95000"/>
                    <a:lumOff val="5000"/>
                  </a:schemeClr>
                </a:solidFill>
              </a:rPr>
              <a:t>conduct process improvements</a:t>
            </a:r>
            <a:r>
              <a:rPr lang="en-US" sz="1200" dirty="0">
                <a:solidFill>
                  <a:schemeClr val="tx1">
                    <a:lumMod val="95000"/>
                    <a:lumOff val="5000"/>
                  </a:schemeClr>
                </a:solidFill>
              </a:rPr>
              <a:t>. Process Improvement focuses on finding the best way to do things to achieve the flow and quality objectives of Lean.  </a:t>
            </a:r>
          </a:p>
        </p:txBody>
      </p:sp>
      <p:grpSp>
        <p:nvGrpSpPr>
          <p:cNvPr id="28" name="Group 27">
            <a:extLst>
              <a:ext uri="{FF2B5EF4-FFF2-40B4-BE49-F238E27FC236}">
                <a16:creationId xmlns:a16="http://schemas.microsoft.com/office/drawing/2014/main" id="{D13CB0A7-A6D9-40F8-A306-0F862D23E011}"/>
              </a:ext>
            </a:extLst>
          </p:cNvPr>
          <p:cNvGrpSpPr/>
          <p:nvPr/>
        </p:nvGrpSpPr>
        <p:grpSpPr>
          <a:xfrm>
            <a:off x="2619527" y="584927"/>
            <a:ext cx="6952945" cy="4193582"/>
            <a:chOff x="5475767" y="920679"/>
            <a:chExt cx="6952945" cy="4193582"/>
          </a:xfrm>
        </p:grpSpPr>
        <p:grpSp>
          <p:nvGrpSpPr>
            <p:cNvPr id="25" name="Group 24">
              <a:extLst>
                <a:ext uri="{FF2B5EF4-FFF2-40B4-BE49-F238E27FC236}">
                  <a16:creationId xmlns:a16="http://schemas.microsoft.com/office/drawing/2014/main" id="{7F97F9C3-5E20-45AA-8468-966AC62BFC5E}"/>
                </a:ext>
              </a:extLst>
            </p:cNvPr>
            <p:cNvGrpSpPr/>
            <p:nvPr/>
          </p:nvGrpSpPr>
          <p:grpSpPr>
            <a:xfrm>
              <a:off x="5475767" y="920679"/>
              <a:ext cx="6952945" cy="4193582"/>
              <a:chOff x="1823056" y="1204968"/>
              <a:chExt cx="8638634" cy="5296607"/>
            </a:xfrm>
          </p:grpSpPr>
          <p:sp>
            <p:nvSpPr>
              <p:cNvPr id="5" name="Rectangle 4">
                <a:extLst>
                  <a:ext uri="{FF2B5EF4-FFF2-40B4-BE49-F238E27FC236}">
                    <a16:creationId xmlns:a16="http://schemas.microsoft.com/office/drawing/2014/main" id="{52FAEA61-61B9-44E8-AE59-5CC1C8D28BFE}"/>
                  </a:ext>
                </a:extLst>
              </p:cNvPr>
              <p:cNvSpPr/>
              <p:nvPr/>
            </p:nvSpPr>
            <p:spPr bwMode="auto">
              <a:xfrm>
                <a:off x="4287745" y="2784294"/>
                <a:ext cx="3408945" cy="3040342"/>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nl-BE" sz="1400" kern="0" baseline="-25000" dirty="0">
                  <a:solidFill>
                    <a:srgbClr val="FFFFFF"/>
                  </a:solidFill>
                  <a:ea typeface="Arial" charset="0"/>
                  <a:cs typeface="Arial" charset="0"/>
                </a:endParaRPr>
              </a:p>
            </p:txBody>
          </p:sp>
          <p:grpSp>
            <p:nvGrpSpPr>
              <p:cNvPr id="6" name="Group 5">
                <a:extLst>
                  <a:ext uri="{FF2B5EF4-FFF2-40B4-BE49-F238E27FC236}">
                    <a16:creationId xmlns:a16="http://schemas.microsoft.com/office/drawing/2014/main" id="{F5E0C163-57F6-4077-AF02-81A4C6B4EF62}"/>
                  </a:ext>
                </a:extLst>
              </p:cNvPr>
              <p:cNvGrpSpPr/>
              <p:nvPr/>
            </p:nvGrpSpPr>
            <p:grpSpPr>
              <a:xfrm>
                <a:off x="1823056" y="2743996"/>
                <a:ext cx="2464689" cy="3291479"/>
                <a:chOff x="453602" y="2332669"/>
                <a:chExt cx="2464689" cy="3291479"/>
              </a:xfrm>
            </p:grpSpPr>
            <p:sp>
              <p:nvSpPr>
                <p:cNvPr id="7" name="Rectangle 6">
                  <a:extLst>
                    <a:ext uri="{FF2B5EF4-FFF2-40B4-BE49-F238E27FC236}">
                      <a16:creationId xmlns:a16="http://schemas.microsoft.com/office/drawing/2014/main" id="{76916EBB-0FAC-4769-9753-4EED438C7233}"/>
                    </a:ext>
                  </a:extLst>
                </p:cNvPr>
                <p:cNvSpPr/>
                <p:nvPr/>
              </p:nvSpPr>
              <p:spPr bwMode="auto">
                <a:xfrm>
                  <a:off x="542620" y="2332669"/>
                  <a:ext cx="2342692" cy="3291479"/>
                </a:xfrm>
                <a:prstGeom prst="rect">
                  <a:avLst/>
                </a:prstGeom>
                <a:solidFill>
                  <a:srgbClr val="0073AE"/>
                </a:solidFill>
                <a:ln w="25400" cap="flat" cmpd="sng" algn="ctr">
                  <a:solidFill>
                    <a:srgbClr val="FFFFFF"/>
                  </a:solidFill>
                  <a:prstDash val="solid"/>
                  <a:headEnd type="none" w="med" len="med"/>
                  <a:tailEnd type="none" w="med" len="med"/>
                </a:ln>
                <a:effectLst/>
              </p:spPr>
              <p:txBody>
                <a:bodyPr vert="wordArtVert" anchor="ctr"/>
                <a:lstStyle/>
                <a:p>
                  <a:pPr algn="ctr" fontAlgn="base">
                    <a:spcBef>
                      <a:spcPct val="0"/>
                    </a:spcBef>
                    <a:spcAft>
                      <a:spcPct val="0"/>
                    </a:spcAft>
                    <a:defRPr/>
                  </a:pPr>
                  <a:endParaRPr lang="en-US" sz="1100" kern="0" baseline="-25000" dirty="0">
                    <a:solidFill>
                      <a:srgbClr val="FFFFFF"/>
                    </a:solidFill>
                    <a:ea typeface="MS PGothic"/>
                  </a:endParaRPr>
                </a:p>
              </p:txBody>
            </p:sp>
            <p:grpSp>
              <p:nvGrpSpPr>
                <p:cNvPr id="8" name="Group 7">
                  <a:extLst>
                    <a:ext uri="{FF2B5EF4-FFF2-40B4-BE49-F238E27FC236}">
                      <a16:creationId xmlns:a16="http://schemas.microsoft.com/office/drawing/2014/main" id="{A6504154-3144-4D4C-A1B7-1BDEAFA4C0E1}"/>
                    </a:ext>
                  </a:extLst>
                </p:cNvPr>
                <p:cNvGrpSpPr/>
                <p:nvPr/>
              </p:nvGrpSpPr>
              <p:grpSpPr>
                <a:xfrm>
                  <a:off x="453602" y="2433778"/>
                  <a:ext cx="2464689" cy="2650984"/>
                  <a:chOff x="434552" y="2433778"/>
                  <a:chExt cx="2464689" cy="2650984"/>
                </a:xfrm>
              </p:grpSpPr>
              <p:sp>
                <p:nvSpPr>
                  <p:cNvPr id="9" name="TextBox 8">
                    <a:extLst>
                      <a:ext uri="{FF2B5EF4-FFF2-40B4-BE49-F238E27FC236}">
                        <a16:creationId xmlns:a16="http://schemas.microsoft.com/office/drawing/2014/main" id="{4959B134-FE0E-40B5-99B3-F23247B7FDE0}"/>
                      </a:ext>
                    </a:extLst>
                  </p:cNvPr>
                  <p:cNvSpPr txBox="1"/>
                  <p:nvPr/>
                </p:nvSpPr>
                <p:spPr>
                  <a:xfrm>
                    <a:off x="434552" y="2433778"/>
                    <a:ext cx="2464689" cy="2650984"/>
                  </a:xfrm>
                  <a:prstGeom prst="rect">
                    <a:avLst/>
                  </a:prstGeom>
                  <a:noFill/>
                  <a:ln>
                    <a:noFill/>
                  </a:ln>
                </p:spPr>
                <p:txBody>
                  <a:bodyPr wrap="square" rtlCol="0">
                    <a:spAutoFit/>
                  </a:bodyPr>
                  <a:lstStyle/>
                  <a:p>
                    <a:pPr algn="ctr" fontAlgn="base">
                      <a:spcBef>
                        <a:spcPct val="0"/>
                      </a:spcBef>
                      <a:spcAft>
                        <a:spcPct val="0"/>
                      </a:spcAft>
                      <a:defRPr/>
                    </a:pPr>
                    <a:r>
                      <a:rPr lang="nl-BE" sz="1400" b="1" kern="0" dirty="0">
                        <a:solidFill>
                          <a:srgbClr val="FFFFFF"/>
                        </a:solidFill>
                        <a:ea typeface="MS PGothic"/>
                      </a:rPr>
                      <a:t>PROCESS IMPROVEMENT</a:t>
                    </a: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0073AE"/>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r>
                      <a:rPr lang="nl-BE" sz="1200" b="1" kern="0" dirty="0">
                        <a:solidFill>
                          <a:srgbClr val="FFFFFF"/>
                        </a:solidFill>
                        <a:ea typeface="MS PGothic"/>
                      </a:rPr>
                      <a:t>TEOA TOOLS</a:t>
                    </a:r>
                  </a:p>
                </p:txBody>
              </p:sp>
              <p:pic>
                <p:nvPicPr>
                  <p:cNvPr id="10" name="Picture 3">
                    <a:extLst>
                      <a:ext uri="{FF2B5EF4-FFF2-40B4-BE49-F238E27FC236}">
                        <a16:creationId xmlns:a16="http://schemas.microsoft.com/office/drawing/2014/main" id="{64A15572-2F4F-4816-AEC4-5709F4194ED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0938" y="3178711"/>
                    <a:ext cx="2080308" cy="15341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1" name="Group 10">
                <a:extLst>
                  <a:ext uri="{FF2B5EF4-FFF2-40B4-BE49-F238E27FC236}">
                    <a16:creationId xmlns:a16="http://schemas.microsoft.com/office/drawing/2014/main" id="{5FAF6D36-0D0F-483D-A6C5-81394472E635}"/>
                  </a:ext>
                </a:extLst>
              </p:cNvPr>
              <p:cNvGrpSpPr/>
              <p:nvPr/>
            </p:nvGrpSpPr>
            <p:grpSpPr>
              <a:xfrm>
                <a:off x="7696689" y="2743995"/>
                <a:ext cx="2387138" cy="3291480"/>
                <a:chOff x="6327236" y="2332669"/>
                <a:chExt cx="2387138" cy="3291480"/>
              </a:xfrm>
              <a:solidFill>
                <a:srgbClr val="0073AE"/>
              </a:solidFill>
            </p:grpSpPr>
            <p:sp>
              <p:nvSpPr>
                <p:cNvPr id="12" name="TextBox 11">
                  <a:extLst>
                    <a:ext uri="{FF2B5EF4-FFF2-40B4-BE49-F238E27FC236}">
                      <a16:creationId xmlns:a16="http://schemas.microsoft.com/office/drawing/2014/main" id="{8740B8B1-8F1A-49CB-BF00-1430A7A0922A}"/>
                    </a:ext>
                  </a:extLst>
                </p:cNvPr>
                <p:cNvSpPr txBox="1"/>
                <p:nvPr/>
              </p:nvSpPr>
              <p:spPr>
                <a:xfrm>
                  <a:off x="6327236" y="2332669"/>
                  <a:ext cx="2387138" cy="3291480"/>
                </a:xfrm>
                <a:prstGeom prst="rect">
                  <a:avLst/>
                </a:prstGeom>
                <a:grpFill/>
                <a:ln w="25400" cap="flat" cmpd="sng" algn="ctr">
                  <a:solidFill>
                    <a:srgbClr val="FFFFFF"/>
                  </a:solidFill>
                  <a:prstDash val="solid"/>
                </a:ln>
                <a:effectLst/>
              </p:spPr>
              <p:txBody>
                <a:bodyPr wrap="square" rtlCol="0">
                  <a:noAutofit/>
                </a:bodyPr>
                <a:lstStyle/>
                <a:p>
                  <a:pPr algn="ctr" fontAlgn="base">
                    <a:spcBef>
                      <a:spcPct val="0"/>
                    </a:spcBef>
                    <a:spcAft>
                      <a:spcPct val="0"/>
                    </a:spcAft>
                    <a:defRPr/>
                  </a:pPr>
                  <a:r>
                    <a:rPr lang="nl-BE" sz="1400" b="1" kern="0" dirty="0">
                      <a:solidFill>
                        <a:srgbClr val="FFFFFF"/>
                      </a:solidFill>
                      <a:ea typeface="MS PGothic"/>
                      <a:cs typeface="Arial" charset="0"/>
                    </a:rPr>
                    <a:t>PEOPLE DEVELOPMENT</a:t>
                  </a: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endParaRPr lang="nl-BE" sz="1600" b="1" kern="0" dirty="0">
                    <a:solidFill>
                      <a:srgbClr val="FFFFFF"/>
                    </a:solidFill>
                    <a:ea typeface="MS PGothic"/>
                  </a:endParaRPr>
                </a:p>
                <a:p>
                  <a:pPr algn="ctr" fontAlgn="base">
                    <a:spcBef>
                      <a:spcPct val="0"/>
                    </a:spcBef>
                    <a:spcAft>
                      <a:spcPct val="0"/>
                    </a:spcAft>
                    <a:defRPr/>
                  </a:pPr>
                  <a:r>
                    <a:rPr lang="nl-BE" sz="1200" b="1" kern="0" dirty="0">
                      <a:solidFill>
                        <a:srgbClr val="FFFFFF"/>
                      </a:solidFill>
                      <a:ea typeface="MS PGothic"/>
                    </a:rPr>
                    <a:t>BUILDING CAPABILITIES</a:t>
                  </a:r>
                </a:p>
              </p:txBody>
            </p:sp>
            <p:pic>
              <p:nvPicPr>
                <p:cNvPr id="13" name="Picture 4">
                  <a:extLst>
                    <a:ext uri="{FF2B5EF4-FFF2-40B4-BE49-F238E27FC236}">
                      <a16:creationId xmlns:a16="http://schemas.microsoft.com/office/drawing/2014/main" id="{B69CB5D5-B913-4D72-AEA6-08D38DAF6DA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8616" y="3264492"/>
                  <a:ext cx="964721" cy="1374093"/>
                </a:xfrm>
                <a:prstGeom prst="rect">
                  <a:avLst/>
                </a:prstGeom>
                <a:grpFill/>
                <a:ln w="9525">
                  <a:solidFill>
                    <a:srgbClr val="0073AE"/>
                  </a:solidFill>
                  <a:miter lim="800000"/>
                  <a:headEnd/>
                  <a:tailEnd/>
                </a:ln>
              </p:spPr>
            </p:pic>
          </p:grpSp>
          <p:grpSp>
            <p:nvGrpSpPr>
              <p:cNvPr id="14" name="Group 13">
                <a:extLst>
                  <a:ext uri="{FF2B5EF4-FFF2-40B4-BE49-F238E27FC236}">
                    <a16:creationId xmlns:a16="http://schemas.microsoft.com/office/drawing/2014/main" id="{F005908B-99F0-40DF-8FA4-A60021596401}"/>
                  </a:ext>
                </a:extLst>
              </p:cNvPr>
              <p:cNvGrpSpPr/>
              <p:nvPr/>
            </p:nvGrpSpPr>
            <p:grpSpPr>
              <a:xfrm>
                <a:off x="1926003" y="1398190"/>
                <a:ext cx="8535687" cy="1463246"/>
                <a:chOff x="556549" y="986864"/>
                <a:chExt cx="8535687" cy="1463246"/>
              </a:xfrm>
            </p:grpSpPr>
            <p:sp>
              <p:nvSpPr>
                <p:cNvPr id="15" name="Isosceles Triangle 14">
                  <a:extLst>
                    <a:ext uri="{FF2B5EF4-FFF2-40B4-BE49-F238E27FC236}">
                      <a16:creationId xmlns:a16="http://schemas.microsoft.com/office/drawing/2014/main" id="{77D71345-4A83-4532-B5B9-D3090EF430AC}"/>
                    </a:ext>
                  </a:extLst>
                </p:cNvPr>
                <p:cNvSpPr/>
                <p:nvPr/>
              </p:nvSpPr>
              <p:spPr bwMode="auto">
                <a:xfrm>
                  <a:off x="556549" y="986864"/>
                  <a:ext cx="8156129" cy="1324023"/>
                </a:xfrm>
                <a:prstGeom prst="triangle">
                  <a:avLst/>
                </a:prstGeom>
                <a:solidFill>
                  <a:srgbClr val="F08B1D"/>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nl-BE" sz="2000" kern="0" baseline="-25000" dirty="0">
                    <a:solidFill>
                      <a:srgbClr val="FFFFFF"/>
                    </a:solidFill>
                    <a:ea typeface="Arial" charset="0"/>
                    <a:cs typeface="Arial" charset="0"/>
                  </a:endParaRPr>
                </a:p>
              </p:txBody>
            </p:sp>
            <p:pic>
              <p:nvPicPr>
                <p:cNvPr id="16" name="Picture 35">
                  <a:extLst>
                    <a:ext uri="{FF2B5EF4-FFF2-40B4-BE49-F238E27FC236}">
                      <a16:creationId xmlns:a16="http://schemas.microsoft.com/office/drawing/2014/main" id="{B9674781-58F2-4E6E-B3C9-DA43C150DC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0945" y="1013962"/>
                  <a:ext cx="3490655" cy="1026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9">
                  <a:extLst>
                    <a:ext uri="{FF2B5EF4-FFF2-40B4-BE49-F238E27FC236}">
                      <a16:creationId xmlns:a16="http://schemas.microsoft.com/office/drawing/2014/main" id="{C07643FB-FBC3-4C97-89FF-A325997B31BB}"/>
                    </a:ext>
                  </a:extLst>
                </p:cNvPr>
                <p:cNvSpPr>
                  <a:spLocks noChangeArrowheads="1"/>
                </p:cNvSpPr>
                <p:nvPr/>
              </p:nvSpPr>
              <p:spPr bwMode="auto">
                <a:xfrm>
                  <a:off x="556549" y="1997673"/>
                  <a:ext cx="8535687" cy="452437"/>
                </a:xfrm>
                <a:prstGeom prst="rect">
                  <a:avLst/>
                </a:prstGeom>
                <a:noFill/>
                <a:ln>
                  <a:noFill/>
                </a:ln>
              </p:spPr>
              <p:txBody>
                <a:bodyPr/>
                <a:lstStyle/>
                <a:p>
                  <a:pPr marL="114300" indent="-114300" algn="ctr">
                    <a:defRPr/>
                  </a:pPr>
                  <a:r>
                    <a:rPr lang="en-US" sz="1100" b="1" kern="0" dirty="0">
                      <a:solidFill>
                        <a:srgbClr val="FFFFFF"/>
                      </a:solidFill>
                      <a:ea typeface="MS PGothic"/>
                      <a:cs typeface="Arial"/>
                    </a:rPr>
                    <a:t>We are Committed to Delivering an Extraordinary Customer Experience</a:t>
                  </a:r>
                </a:p>
              </p:txBody>
            </p:sp>
          </p:grpSp>
          <p:sp>
            <p:nvSpPr>
              <p:cNvPr id="18" name="Rectangle 5">
                <a:extLst>
                  <a:ext uri="{FF2B5EF4-FFF2-40B4-BE49-F238E27FC236}">
                    <a16:creationId xmlns:a16="http://schemas.microsoft.com/office/drawing/2014/main" id="{043926B4-1931-4063-BCFC-0751F0CCFC3F}"/>
                  </a:ext>
                </a:extLst>
              </p:cNvPr>
              <p:cNvSpPr>
                <a:spLocks noChangeArrowheads="1"/>
              </p:cNvSpPr>
              <p:nvPr/>
            </p:nvSpPr>
            <p:spPr bwMode="auto">
              <a:xfrm>
                <a:off x="1914021" y="5843298"/>
                <a:ext cx="8169807" cy="658277"/>
              </a:xfrm>
              <a:prstGeom prst="rect">
                <a:avLst/>
              </a:prstGeom>
              <a:gradFill flip="none" rotWithShape="1">
                <a:gsLst>
                  <a:gs pos="0">
                    <a:srgbClr val="0073AE">
                      <a:shade val="30000"/>
                      <a:satMod val="115000"/>
                    </a:srgbClr>
                  </a:gs>
                  <a:gs pos="50000">
                    <a:srgbClr val="0073AE">
                      <a:shade val="67500"/>
                      <a:satMod val="115000"/>
                    </a:srgbClr>
                  </a:gs>
                  <a:gs pos="100000">
                    <a:srgbClr val="0073AE">
                      <a:shade val="100000"/>
                      <a:satMod val="115000"/>
                    </a:srgbClr>
                  </a:gs>
                </a:gsLst>
                <a:lin ang="16200000" scaled="1"/>
                <a:tileRect/>
              </a:gradFill>
              <a:ln w="25400" cap="flat" cmpd="sng" algn="ctr">
                <a:solidFill>
                  <a:srgbClr val="FFFFFF"/>
                </a:solidFill>
                <a:prstDash val="solid"/>
                <a:headEnd/>
                <a:tailEnd/>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defRPr/>
                </a:pPr>
                <a:r>
                  <a:rPr lang="en-US" b="1" kern="0" dirty="0">
                    <a:solidFill>
                      <a:srgbClr val="F08B1D"/>
                    </a:solidFill>
                    <a:ea typeface="MS PGothic"/>
                  </a:rPr>
                  <a:t>MINDSET AND CULTURE </a:t>
                </a:r>
              </a:p>
            </p:txBody>
          </p:sp>
          <p:grpSp>
            <p:nvGrpSpPr>
              <p:cNvPr id="19" name="Group 18">
                <a:extLst>
                  <a:ext uri="{FF2B5EF4-FFF2-40B4-BE49-F238E27FC236}">
                    <a16:creationId xmlns:a16="http://schemas.microsoft.com/office/drawing/2014/main" id="{C4C3C0F8-7AE3-451B-9C09-4C85AC30ABF2}"/>
                  </a:ext>
                </a:extLst>
              </p:cNvPr>
              <p:cNvGrpSpPr/>
              <p:nvPr/>
            </p:nvGrpSpPr>
            <p:grpSpPr>
              <a:xfrm>
                <a:off x="4439277" y="2802956"/>
                <a:ext cx="3161354" cy="2809711"/>
                <a:chOff x="3069824" y="2391629"/>
                <a:chExt cx="3161354" cy="2809711"/>
              </a:xfrm>
            </p:grpSpPr>
            <p:pic>
              <p:nvPicPr>
                <p:cNvPr id="20" name="Picture 5">
                  <a:extLst>
                    <a:ext uri="{FF2B5EF4-FFF2-40B4-BE49-F238E27FC236}">
                      <a16:creationId xmlns:a16="http://schemas.microsoft.com/office/drawing/2014/main" id="{B1B32ADA-8567-48BB-BD0B-2A651280B6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86615" y="3576960"/>
                  <a:ext cx="694985" cy="546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6">
                  <a:extLst>
                    <a:ext uri="{FF2B5EF4-FFF2-40B4-BE49-F238E27FC236}">
                      <a16:creationId xmlns:a16="http://schemas.microsoft.com/office/drawing/2014/main" id="{ED47B691-1FCF-4A01-AFF5-0089F6D76D48}"/>
                    </a:ext>
                  </a:extLst>
                </p:cNvPr>
                <p:cNvSpPr txBox="1">
                  <a:spLocks noChangeArrowheads="1"/>
                </p:cNvSpPr>
                <p:nvPr/>
              </p:nvSpPr>
              <p:spPr bwMode="auto">
                <a:xfrm>
                  <a:off x="3069824" y="4833147"/>
                  <a:ext cx="3161354" cy="368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pPr>
                  <a:r>
                    <a:rPr lang="en-US" sz="1400" b="1" dirty="0">
                      <a:solidFill>
                        <a:srgbClr val="ACAFB6"/>
                      </a:solidFill>
                      <a:ea typeface="MS PGothic"/>
                    </a:rPr>
                    <a:t>Leadership Behaviors</a:t>
                  </a:r>
                </a:p>
              </p:txBody>
            </p:sp>
            <p:sp>
              <p:nvSpPr>
                <p:cNvPr id="22" name="TextBox 6">
                  <a:extLst>
                    <a:ext uri="{FF2B5EF4-FFF2-40B4-BE49-F238E27FC236}">
                      <a16:creationId xmlns:a16="http://schemas.microsoft.com/office/drawing/2014/main" id="{8F87252C-65E7-49FB-B12B-F0088CEA3DB8}"/>
                    </a:ext>
                  </a:extLst>
                </p:cNvPr>
                <p:cNvSpPr txBox="1">
                  <a:spLocks noChangeArrowheads="1"/>
                </p:cNvSpPr>
                <p:nvPr/>
              </p:nvSpPr>
              <p:spPr bwMode="auto">
                <a:xfrm>
                  <a:off x="3069824" y="2391629"/>
                  <a:ext cx="3161354" cy="405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pPr>
                  <a:r>
                    <a:rPr lang="en-US" sz="1600" b="1" dirty="0">
                      <a:solidFill>
                        <a:srgbClr val="575757"/>
                      </a:solidFill>
                      <a:ea typeface="MS PGothic"/>
                    </a:rPr>
                    <a:t>Management System</a:t>
                  </a:r>
                </a:p>
              </p:txBody>
            </p:sp>
            <p:pic>
              <p:nvPicPr>
                <p:cNvPr id="23" name="Picture 5">
                  <a:extLst>
                    <a:ext uri="{FF2B5EF4-FFF2-40B4-BE49-F238E27FC236}">
                      <a16:creationId xmlns:a16="http://schemas.microsoft.com/office/drawing/2014/main" id="{120ECF29-A794-40B2-A90C-53BE809E1DB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00653" y="2738179"/>
                  <a:ext cx="2547697" cy="2012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4" name="TextBox 23">
                <a:extLst>
                  <a:ext uri="{FF2B5EF4-FFF2-40B4-BE49-F238E27FC236}">
                    <a16:creationId xmlns:a16="http://schemas.microsoft.com/office/drawing/2014/main" id="{9884C0A3-B175-4446-BD10-056EC685498F}"/>
                  </a:ext>
                </a:extLst>
              </p:cNvPr>
              <p:cNvSpPr txBox="1"/>
              <p:nvPr/>
            </p:nvSpPr>
            <p:spPr>
              <a:xfrm>
                <a:off x="5400526" y="1204968"/>
                <a:ext cx="1353156" cy="369332"/>
              </a:xfrm>
              <a:prstGeom prst="rect">
                <a:avLst/>
              </a:prstGeom>
              <a:noFill/>
            </p:spPr>
            <p:txBody>
              <a:bodyPr wrap="square" rtlCol="0">
                <a:prstTxWarp prst="textDeflateBottom">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98300"/>
                    </a:solidFill>
                    <a:effectLst/>
                    <a:uLnTx/>
                    <a:uFillTx/>
                  </a:rPr>
                  <a:t>Strategy</a:t>
                </a:r>
              </a:p>
            </p:txBody>
          </p:sp>
        </p:grpSp>
        <p:sp>
          <p:nvSpPr>
            <p:cNvPr id="27" name="Oval 26">
              <a:extLst>
                <a:ext uri="{FF2B5EF4-FFF2-40B4-BE49-F238E27FC236}">
                  <a16:creationId xmlns:a16="http://schemas.microsoft.com/office/drawing/2014/main" id="{DAF95D34-616F-4B29-AF35-4F692F34294C}"/>
                </a:ext>
              </a:extLst>
            </p:cNvPr>
            <p:cNvSpPr/>
            <p:nvPr/>
          </p:nvSpPr>
          <p:spPr>
            <a:xfrm>
              <a:off x="8325903" y="1154579"/>
              <a:ext cx="1055610" cy="43399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pic>
        <p:nvPicPr>
          <p:cNvPr id="29" name="Picture 28">
            <a:extLst>
              <a:ext uri="{FF2B5EF4-FFF2-40B4-BE49-F238E27FC236}">
                <a16:creationId xmlns:a16="http://schemas.microsoft.com/office/drawing/2014/main" id="{38543019-8763-4256-95BD-6770F9CF0A1E}"/>
              </a:ext>
            </a:extLst>
          </p:cNvPr>
          <p:cNvPicPr>
            <a:picLocks noChangeAspect="1"/>
          </p:cNvPicPr>
          <p:nvPr/>
        </p:nvPicPr>
        <p:blipFill>
          <a:blip r:embed="rId7"/>
          <a:stretch>
            <a:fillRect/>
          </a:stretch>
        </p:blipFill>
        <p:spPr>
          <a:xfrm>
            <a:off x="5662662" y="795614"/>
            <a:ext cx="676905" cy="391543"/>
          </a:xfrm>
          <a:prstGeom prst="rect">
            <a:avLst/>
          </a:prstGeom>
        </p:spPr>
      </p:pic>
      <p:sp>
        <p:nvSpPr>
          <p:cNvPr id="30" name="Rectangle 29">
            <a:extLst>
              <a:ext uri="{FF2B5EF4-FFF2-40B4-BE49-F238E27FC236}">
                <a16:creationId xmlns:a16="http://schemas.microsoft.com/office/drawing/2014/main" id="{DC72F1BB-4C78-4112-BF59-F07B8152041F}"/>
              </a:ext>
            </a:extLst>
          </p:cNvPr>
          <p:cNvSpPr/>
          <p:nvPr/>
        </p:nvSpPr>
        <p:spPr>
          <a:xfrm>
            <a:off x="11516" y="571580"/>
            <a:ext cx="3858735" cy="830997"/>
          </a:xfrm>
          <a:prstGeom prst="rect">
            <a:avLst/>
          </a:prstGeom>
        </p:spPr>
        <p:txBody>
          <a:bodyPr wrap="square">
            <a:spAutoFit/>
          </a:bodyPr>
          <a:lstStyle/>
          <a:p>
            <a:pPr marL="171450" indent="-171450">
              <a:buFont typeface="Arial" panose="020B0604020202020204" pitchFamily="34" charset="0"/>
              <a:buChar char="•"/>
              <a:defRPr/>
            </a:pPr>
            <a:r>
              <a:rPr lang="en-US" sz="1200" dirty="0">
                <a:solidFill>
                  <a:schemeClr val="tx1">
                    <a:lumMod val="95000"/>
                    <a:lumOff val="5000"/>
                  </a:schemeClr>
                </a:solidFill>
              </a:rPr>
              <a:t>The top of the house is the establishment of “</a:t>
            </a:r>
            <a:r>
              <a:rPr lang="en-US" sz="1200" b="1" dirty="0">
                <a:solidFill>
                  <a:schemeClr val="tx1">
                    <a:lumMod val="95000"/>
                    <a:lumOff val="5000"/>
                  </a:schemeClr>
                </a:solidFill>
              </a:rPr>
              <a:t>what problem are we trying to solve</a:t>
            </a:r>
            <a:r>
              <a:rPr lang="en-US" sz="1200" dirty="0">
                <a:solidFill>
                  <a:schemeClr val="tx1">
                    <a:lumMod val="95000"/>
                    <a:lumOff val="5000"/>
                  </a:schemeClr>
                </a:solidFill>
              </a:rPr>
              <a:t>”, or what is our purpose.  This is the idea that drives the rest of the system.  Some call this the “</a:t>
            </a:r>
            <a:r>
              <a:rPr lang="en-US" sz="1200" b="1" dirty="0">
                <a:solidFill>
                  <a:schemeClr val="tx1">
                    <a:lumMod val="95000"/>
                    <a:lumOff val="5000"/>
                  </a:schemeClr>
                </a:solidFill>
              </a:rPr>
              <a:t>true north</a:t>
            </a:r>
            <a:r>
              <a:rPr lang="en-US" sz="1200" dirty="0">
                <a:solidFill>
                  <a:schemeClr val="tx1">
                    <a:lumMod val="95000"/>
                    <a:lumOff val="5000"/>
                  </a:schemeClr>
                </a:solidFill>
              </a:rPr>
              <a:t>”.</a:t>
            </a:r>
          </a:p>
        </p:txBody>
      </p:sp>
      <p:cxnSp>
        <p:nvCxnSpPr>
          <p:cNvPr id="32" name="Straight Arrow Connector 31">
            <a:extLst>
              <a:ext uri="{FF2B5EF4-FFF2-40B4-BE49-F238E27FC236}">
                <a16:creationId xmlns:a16="http://schemas.microsoft.com/office/drawing/2014/main" id="{383132F1-8102-4CA9-BFBD-F5EB0BDDDFF0}"/>
              </a:ext>
            </a:extLst>
          </p:cNvPr>
          <p:cNvCxnSpPr>
            <a:stCxn id="30" idx="3"/>
          </p:cNvCxnSpPr>
          <p:nvPr/>
        </p:nvCxnSpPr>
        <p:spPr>
          <a:xfrm>
            <a:off x="3870251" y="987079"/>
            <a:ext cx="361507" cy="11870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C0C4FAF-5446-47E1-9193-7E15292538D9}"/>
              </a:ext>
            </a:extLst>
          </p:cNvPr>
          <p:cNvSpPr/>
          <p:nvPr/>
        </p:nvSpPr>
        <p:spPr>
          <a:xfrm>
            <a:off x="474531" y="5179801"/>
            <a:ext cx="3815508" cy="1169551"/>
          </a:xfrm>
          <a:prstGeom prst="rect">
            <a:avLst/>
          </a:prstGeom>
        </p:spPr>
        <p:txBody>
          <a:bodyPr wrap="square">
            <a:spAutoFit/>
          </a:bodyPr>
          <a:lstStyle/>
          <a:p>
            <a:pPr marL="171450" indent="-171450" fontAlgn="base">
              <a:spcBef>
                <a:spcPct val="0"/>
              </a:spcBef>
              <a:buFont typeface="Arial" panose="020B0604020202020204" pitchFamily="34" charset="0"/>
              <a:buChar char="•"/>
            </a:pPr>
            <a:r>
              <a:rPr lang="en-US" sz="1400" dirty="0">
                <a:solidFill>
                  <a:schemeClr val="tx1">
                    <a:lumMod val="95000"/>
                    <a:lumOff val="5000"/>
                  </a:schemeClr>
                </a:solidFill>
              </a:rPr>
              <a:t>The </a:t>
            </a:r>
            <a:r>
              <a:rPr lang="en-US" sz="1400" b="1" dirty="0">
                <a:solidFill>
                  <a:schemeClr val="tx1">
                    <a:lumMod val="95000"/>
                    <a:lumOff val="5000"/>
                  </a:schemeClr>
                </a:solidFill>
              </a:rPr>
              <a:t>mindset and culture </a:t>
            </a:r>
            <a:r>
              <a:rPr lang="en-US" sz="1400" dirty="0">
                <a:solidFill>
                  <a:schemeClr val="tx1">
                    <a:lumMod val="95000"/>
                    <a:lumOff val="5000"/>
                  </a:schemeClr>
                </a:solidFill>
              </a:rPr>
              <a:t>are the way that people think and behave.  Achieving a change in the culture away from an internal focus to a Lean, customer focus is often the most difficult challenge.</a:t>
            </a:r>
            <a:endParaRPr lang="en-IE" sz="1400" dirty="0"/>
          </a:p>
        </p:txBody>
      </p:sp>
      <p:sp>
        <p:nvSpPr>
          <p:cNvPr id="34" name="Rectangle 33">
            <a:extLst>
              <a:ext uri="{FF2B5EF4-FFF2-40B4-BE49-F238E27FC236}">
                <a16:creationId xmlns:a16="http://schemas.microsoft.com/office/drawing/2014/main" id="{E48A61D4-9183-4CD5-8FE4-28BC734CB2FE}"/>
              </a:ext>
            </a:extLst>
          </p:cNvPr>
          <p:cNvSpPr/>
          <p:nvPr/>
        </p:nvSpPr>
        <p:spPr>
          <a:xfrm>
            <a:off x="5489541" y="4793285"/>
            <a:ext cx="6096000" cy="1815882"/>
          </a:xfrm>
          <a:prstGeom prst="rect">
            <a:avLst/>
          </a:prstGeom>
        </p:spPr>
        <p:txBody>
          <a:bodyPr>
            <a:spAutoFit/>
          </a:bodyPr>
          <a:lstStyle/>
          <a:p>
            <a:r>
              <a:rPr lang="en-IE" sz="1400" dirty="0"/>
              <a:t>The middle section - </a:t>
            </a:r>
            <a:r>
              <a:rPr lang="en-IE" sz="1400" b="1" dirty="0"/>
              <a:t>the management system </a:t>
            </a:r>
            <a:r>
              <a:rPr lang="en-IE" sz="1400" dirty="0"/>
              <a:t>- is the ‘</a:t>
            </a:r>
            <a:r>
              <a:rPr lang="en-IE" sz="1400" b="1" dirty="0"/>
              <a:t>heart of our TEOA continuous improvement system</a:t>
            </a:r>
            <a:r>
              <a:rPr lang="en-IE" sz="1400" dirty="0"/>
              <a:t>’ and needed to monitor and make sure that the process is continually running as intended, and if there are process interruptions, they are dealt with quickly to get the process back on track. </a:t>
            </a:r>
          </a:p>
          <a:p>
            <a:r>
              <a:rPr lang="en-IE" sz="1400" dirty="0"/>
              <a:t>The management system supports the effective use of the tools and aligns roles and responsibilities to the purpose of creating value and achieving flow without waste.   It is the leaders role to lead, manage and develop our people the ‘TEOA way</a:t>
            </a:r>
          </a:p>
        </p:txBody>
      </p:sp>
      <p:sp>
        <p:nvSpPr>
          <p:cNvPr id="35" name="Rectangle 34">
            <a:extLst>
              <a:ext uri="{FF2B5EF4-FFF2-40B4-BE49-F238E27FC236}">
                <a16:creationId xmlns:a16="http://schemas.microsoft.com/office/drawing/2014/main" id="{CBDC255A-0438-47C7-AB88-99D5972689C0}"/>
              </a:ext>
            </a:extLst>
          </p:cNvPr>
          <p:cNvSpPr/>
          <p:nvPr/>
        </p:nvSpPr>
        <p:spPr>
          <a:xfrm>
            <a:off x="9486957" y="2378150"/>
            <a:ext cx="2548215" cy="1815882"/>
          </a:xfrm>
          <a:prstGeom prst="rect">
            <a:avLst/>
          </a:prstGeom>
        </p:spPr>
        <p:txBody>
          <a:bodyPr wrap="square">
            <a:spAutoFit/>
          </a:bodyPr>
          <a:lstStyle/>
          <a:p>
            <a:pPr>
              <a:spcBef>
                <a:spcPct val="0"/>
              </a:spcBef>
            </a:pPr>
            <a:r>
              <a:rPr lang="en-US" sz="1400" b="1" dirty="0">
                <a:solidFill>
                  <a:schemeClr val="tx1">
                    <a:lumMod val="95000"/>
                    <a:lumOff val="5000"/>
                  </a:schemeClr>
                </a:solidFill>
              </a:rPr>
              <a:t>Capability development, </a:t>
            </a:r>
            <a:r>
              <a:rPr lang="en-US" sz="1400" dirty="0">
                <a:solidFill>
                  <a:schemeClr val="tx1">
                    <a:lumMod val="95000"/>
                    <a:lumOff val="5000"/>
                  </a:schemeClr>
                </a:solidFill>
              </a:rPr>
              <a:t>especially people development, is important because people need to be </a:t>
            </a:r>
            <a:r>
              <a:rPr lang="en-US" sz="1400" b="1" dirty="0">
                <a:solidFill>
                  <a:schemeClr val="tx1">
                    <a:lumMod val="95000"/>
                    <a:lumOff val="5000"/>
                  </a:schemeClr>
                </a:solidFill>
              </a:rPr>
              <a:t>trained with the skill sets and the knowledge </a:t>
            </a:r>
            <a:r>
              <a:rPr lang="en-US" sz="1400" dirty="0">
                <a:solidFill>
                  <a:schemeClr val="tx1">
                    <a:lumMod val="95000"/>
                    <a:lumOff val="5000"/>
                  </a:schemeClr>
                </a:solidFill>
              </a:rPr>
              <a:t>to perform the tasks defined by the </a:t>
            </a:r>
            <a:r>
              <a:rPr lang="en-US" sz="1400" b="1" dirty="0">
                <a:solidFill>
                  <a:schemeClr val="tx1">
                    <a:lumMod val="95000"/>
                    <a:lumOff val="5000"/>
                  </a:schemeClr>
                </a:solidFill>
              </a:rPr>
              <a:t>process improvements</a:t>
            </a:r>
            <a:r>
              <a:rPr lang="en-US" sz="1400" dirty="0">
                <a:solidFill>
                  <a:schemeClr val="tx1">
                    <a:lumMod val="95000"/>
                    <a:lumOff val="5000"/>
                  </a:schemeClr>
                </a:solidFill>
              </a:rPr>
              <a:t>.</a:t>
            </a:r>
          </a:p>
        </p:txBody>
      </p:sp>
      <p:cxnSp>
        <p:nvCxnSpPr>
          <p:cNvPr id="36" name="Straight Arrow Connector 35">
            <a:extLst>
              <a:ext uri="{FF2B5EF4-FFF2-40B4-BE49-F238E27FC236}">
                <a16:creationId xmlns:a16="http://schemas.microsoft.com/office/drawing/2014/main" id="{0527406E-D9D2-4896-8968-8E3D9705C31E}"/>
              </a:ext>
            </a:extLst>
          </p:cNvPr>
          <p:cNvCxnSpPr/>
          <p:nvPr/>
        </p:nvCxnSpPr>
        <p:spPr>
          <a:xfrm>
            <a:off x="2259689" y="3080888"/>
            <a:ext cx="361507" cy="11870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0DC5E99-A27A-4F9F-93F1-0CF45443DF5E}"/>
              </a:ext>
            </a:extLst>
          </p:cNvPr>
          <p:cNvCxnSpPr>
            <a:cxnSpLocks/>
          </p:cNvCxnSpPr>
          <p:nvPr/>
        </p:nvCxnSpPr>
        <p:spPr>
          <a:xfrm flipV="1">
            <a:off x="3125311" y="4860499"/>
            <a:ext cx="486088" cy="30968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1BFD105-EC6F-4E65-A44C-B71009A96B0B}"/>
              </a:ext>
            </a:extLst>
          </p:cNvPr>
          <p:cNvCxnSpPr>
            <a:cxnSpLocks/>
          </p:cNvCxnSpPr>
          <p:nvPr/>
        </p:nvCxnSpPr>
        <p:spPr>
          <a:xfrm flipH="1" flipV="1">
            <a:off x="6339567" y="4153912"/>
            <a:ext cx="561375" cy="76139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53B39CF-0EC0-49A3-BC8C-691F4E227EFC}"/>
              </a:ext>
            </a:extLst>
          </p:cNvPr>
          <p:cNvCxnSpPr>
            <a:cxnSpLocks/>
          </p:cNvCxnSpPr>
          <p:nvPr/>
        </p:nvCxnSpPr>
        <p:spPr>
          <a:xfrm flipH="1">
            <a:off x="8919124" y="2690965"/>
            <a:ext cx="557383" cy="10085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B6FAC7D0-D6DD-43D3-B166-B7C043C907BE}"/>
              </a:ext>
            </a:extLst>
          </p:cNvPr>
          <p:cNvGrpSpPr/>
          <p:nvPr/>
        </p:nvGrpSpPr>
        <p:grpSpPr>
          <a:xfrm>
            <a:off x="35768" y="6193279"/>
            <a:ext cx="1289135" cy="664721"/>
            <a:chOff x="8407400" y="5845092"/>
            <a:chExt cx="1289135" cy="672559"/>
          </a:xfrm>
        </p:grpSpPr>
        <p:pic>
          <p:nvPicPr>
            <p:cNvPr id="46" name="Graphic 45" descr="List">
              <a:hlinkClick r:id="rId8" action="ppaction://hlinksldjump"/>
              <a:extLst>
                <a:ext uri="{FF2B5EF4-FFF2-40B4-BE49-F238E27FC236}">
                  <a16:creationId xmlns:a16="http://schemas.microsoft.com/office/drawing/2014/main" id="{4FC8E445-D73F-496B-9446-5A568561C3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57825" y="5845092"/>
              <a:ext cx="468725" cy="468725"/>
            </a:xfrm>
            <a:prstGeom prst="rect">
              <a:avLst/>
            </a:prstGeom>
          </p:spPr>
        </p:pic>
        <p:sp>
          <p:nvSpPr>
            <p:cNvPr id="47" name="Rectangle 46">
              <a:extLst>
                <a:ext uri="{FF2B5EF4-FFF2-40B4-BE49-F238E27FC236}">
                  <a16:creationId xmlns:a16="http://schemas.microsoft.com/office/drawing/2014/main" id="{BEECB64D-5929-4B9B-8675-083BA009928B}"/>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48" name="Picture 47">
            <a:hlinkClick r:id="rId11" action="ppaction://hlinksldjump"/>
            <a:extLst>
              <a:ext uri="{FF2B5EF4-FFF2-40B4-BE49-F238E27FC236}">
                <a16:creationId xmlns:a16="http://schemas.microsoft.com/office/drawing/2014/main" id="{1A0C59AE-5579-4A1A-A864-9ED16F312FF3}"/>
              </a:ext>
            </a:extLst>
          </p:cNvPr>
          <p:cNvPicPr>
            <a:picLocks noChangeAspect="1"/>
          </p:cNvPicPr>
          <p:nvPr/>
        </p:nvPicPr>
        <p:blipFill>
          <a:blip r:embed="rId12"/>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1771238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AB93E-4E75-4ACB-9D7B-F454BB4012CA}"/>
              </a:ext>
            </a:extLst>
          </p:cNvPr>
          <p:cNvSpPr>
            <a:spLocks noGrp="1"/>
          </p:cNvSpPr>
          <p:nvPr>
            <p:ph type="title"/>
          </p:nvPr>
        </p:nvSpPr>
        <p:spPr>
          <a:xfrm>
            <a:off x="623313" y="155244"/>
            <a:ext cx="9829800" cy="457200"/>
          </a:xfrm>
        </p:spPr>
        <p:txBody>
          <a:bodyPr/>
          <a:lstStyle/>
          <a:p>
            <a:r>
              <a:rPr lang="en-IE" dirty="0"/>
              <a:t>TEOA TOOLKIT DRIVING THE OPERATING SYSTEM</a:t>
            </a:r>
          </a:p>
        </p:txBody>
      </p:sp>
      <p:sp>
        <p:nvSpPr>
          <p:cNvPr id="3" name="Content Placeholder 2">
            <a:extLst>
              <a:ext uri="{FF2B5EF4-FFF2-40B4-BE49-F238E27FC236}">
                <a16:creationId xmlns:a16="http://schemas.microsoft.com/office/drawing/2014/main" id="{7AEEF17F-0BFD-4678-90E3-D40BB901FCA1}"/>
              </a:ext>
            </a:extLst>
          </p:cNvPr>
          <p:cNvSpPr>
            <a:spLocks noGrp="1"/>
          </p:cNvSpPr>
          <p:nvPr>
            <p:ph idx="10"/>
          </p:nvPr>
        </p:nvSpPr>
        <p:spPr>
          <a:xfrm>
            <a:off x="516000" y="820901"/>
            <a:ext cx="11160000" cy="1815974"/>
          </a:xfrm>
        </p:spPr>
        <p:txBody>
          <a:bodyPr/>
          <a:lstStyle/>
          <a:p>
            <a:r>
              <a:rPr lang="en-IE" dirty="0"/>
              <a:t>The TEOA Toolkit includes tools designed to drive step improvements in site operating performance. Five of the tools, designated as fundamental, form the core of TEOA and should be enacted at all sites and across all value streams. </a:t>
            </a:r>
          </a:p>
          <a:p>
            <a:r>
              <a:rPr lang="en-IE" dirty="0"/>
              <a:t>Use of the remaining tools is based on applicability and/or potential impact. Detailed instructions for implementing TEOA principles will be covered through a variety of sources included in the TEOA Academy to which readers will be referred later in this playbook.</a:t>
            </a:r>
          </a:p>
        </p:txBody>
      </p:sp>
      <p:pic>
        <p:nvPicPr>
          <p:cNvPr id="45" name="Picture 44">
            <a:extLst>
              <a:ext uri="{FF2B5EF4-FFF2-40B4-BE49-F238E27FC236}">
                <a16:creationId xmlns:a16="http://schemas.microsoft.com/office/drawing/2014/main" id="{84CC77FE-A628-4E44-871E-699958E7D2C2}"/>
              </a:ext>
            </a:extLst>
          </p:cNvPr>
          <p:cNvPicPr>
            <a:picLocks noChangeAspect="1"/>
          </p:cNvPicPr>
          <p:nvPr/>
        </p:nvPicPr>
        <p:blipFill>
          <a:blip r:embed="rId2"/>
          <a:stretch>
            <a:fillRect/>
          </a:stretch>
        </p:blipFill>
        <p:spPr>
          <a:xfrm>
            <a:off x="1456661" y="2206152"/>
            <a:ext cx="8569842" cy="4029947"/>
          </a:xfrm>
          <a:prstGeom prst="rect">
            <a:avLst/>
          </a:prstGeom>
        </p:spPr>
      </p:pic>
      <p:grpSp>
        <p:nvGrpSpPr>
          <p:cNvPr id="46" name="Group 45">
            <a:extLst>
              <a:ext uri="{FF2B5EF4-FFF2-40B4-BE49-F238E27FC236}">
                <a16:creationId xmlns:a16="http://schemas.microsoft.com/office/drawing/2014/main" id="{46DC0AE3-7365-4C22-9EBD-4C5A50BBDF0C}"/>
              </a:ext>
            </a:extLst>
          </p:cNvPr>
          <p:cNvGrpSpPr/>
          <p:nvPr/>
        </p:nvGrpSpPr>
        <p:grpSpPr>
          <a:xfrm>
            <a:off x="35768" y="6193279"/>
            <a:ext cx="1289135" cy="664721"/>
            <a:chOff x="8407400" y="5845092"/>
            <a:chExt cx="1289135" cy="672559"/>
          </a:xfrm>
        </p:grpSpPr>
        <p:pic>
          <p:nvPicPr>
            <p:cNvPr id="47" name="Graphic 46" descr="List">
              <a:hlinkClick r:id="rId3" action="ppaction://hlinksldjump"/>
              <a:extLst>
                <a:ext uri="{FF2B5EF4-FFF2-40B4-BE49-F238E27FC236}">
                  <a16:creationId xmlns:a16="http://schemas.microsoft.com/office/drawing/2014/main" id="{111D1A0E-98A8-491E-BEF2-A5C4BD2CDD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57825" y="5845092"/>
              <a:ext cx="468725" cy="468725"/>
            </a:xfrm>
            <a:prstGeom prst="rect">
              <a:avLst/>
            </a:prstGeom>
          </p:spPr>
        </p:pic>
        <p:sp>
          <p:nvSpPr>
            <p:cNvPr id="48" name="Rectangle 47">
              <a:extLst>
                <a:ext uri="{FF2B5EF4-FFF2-40B4-BE49-F238E27FC236}">
                  <a16:creationId xmlns:a16="http://schemas.microsoft.com/office/drawing/2014/main" id="{A7E0B4F4-7080-4C68-AC96-7CD38E624ED5}"/>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49" name="Picture 48">
            <a:hlinkClick r:id="rId6" action="ppaction://hlinksldjump"/>
            <a:extLst>
              <a:ext uri="{FF2B5EF4-FFF2-40B4-BE49-F238E27FC236}">
                <a16:creationId xmlns:a16="http://schemas.microsoft.com/office/drawing/2014/main" id="{F0CBD591-3A96-4331-9F4B-47A49034D037}"/>
              </a:ext>
            </a:extLst>
          </p:cNvPr>
          <p:cNvPicPr>
            <a:picLocks noChangeAspect="1"/>
          </p:cNvPicPr>
          <p:nvPr/>
        </p:nvPicPr>
        <p:blipFill>
          <a:blip r:embed="rId7"/>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4018096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AB93E-4E75-4ACB-9D7B-F454BB4012CA}"/>
              </a:ext>
            </a:extLst>
          </p:cNvPr>
          <p:cNvSpPr>
            <a:spLocks noGrp="1"/>
          </p:cNvSpPr>
          <p:nvPr>
            <p:ph type="title"/>
          </p:nvPr>
        </p:nvSpPr>
        <p:spPr>
          <a:xfrm>
            <a:off x="623313" y="155244"/>
            <a:ext cx="9829800" cy="457200"/>
          </a:xfrm>
        </p:spPr>
        <p:txBody>
          <a:bodyPr/>
          <a:lstStyle/>
          <a:p>
            <a:r>
              <a:rPr lang="en-IE" dirty="0"/>
              <a:t>TEOA STAR SYSTEM INFRASTRUCTURE - Global Star Assessment Tool</a:t>
            </a:r>
            <a:br>
              <a:rPr lang="en-IE" dirty="0"/>
            </a:br>
            <a:endParaRPr lang="en-IE" dirty="0"/>
          </a:p>
        </p:txBody>
      </p:sp>
      <p:sp>
        <p:nvSpPr>
          <p:cNvPr id="3" name="Content Placeholder 2">
            <a:extLst>
              <a:ext uri="{FF2B5EF4-FFF2-40B4-BE49-F238E27FC236}">
                <a16:creationId xmlns:a16="http://schemas.microsoft.com/office/drawing/2014/main" id="{7AEEF17F-0BFD-4678-90E3-D40BB901FCA1}"/>
              </a:ext>
            </a:extLst>
          </p:cNvPr>
          <p:cNvSpPr>
            <a:spLocks noGrp="1"/>
          </p:cNvSpPr>
          <p:nvPr>
            <p:ph idx="10"/>
          </p:nvPr>
        </p:nvSpPr>
        <p:spPr>
          <a:xfrm>
            <a:off x="516000" y="1152763"/>
            <a:ext cx="11436514" cy="2664058"/>
          </a:xfrm>
        </p:spPr>
        <p:txBody>
          <a:bodyPr/>
          <a:lstStyle/>
          <a:p>
            <a:r>
              <a:rPr lang="en-IE" dirty="0"/>
              <a:t>TEOA uses a “Star” rating system to measure and track progress towards world-class performance at each of the global sites – which includes operations and all other business process functions. </a:t>
            </a:r>
          </a:p>
          <a:p>
            <a:r>
              <a:rPr lang="en-IE" dirty="0"/>
              <a:t>Every defined site is required to complete a monthly or quarterly self assessment, which consists of two components: </a:t>
            </a:r>
          </a:p>
          <a:p>
            <a:pPr marL="285750" indent="-285750">
              <a:buFont typeface="Arial" panose="020B0604020202020204" pitchFamily="34" charset="0"/>
              <a:buChar char="•"/>
            </a:pPr>
            <a:r>
              <a:rPr lang="en-IE" b="1" dirty="0"/>
              <a:t>Performance Scorecard </a:t>
            </a:r>
            <a:r>
              <a:rPr lang="en-IE" dirty="0"/>
              <a:t>assesses five critical performance metrics (Safety, Quality, Delivery, Productivity, Inventory) aligned to the business strategy; a Star rating is assigned to each metric based on the past month’s performance. </a:t>
            </a:r>
            <a:r>
              <a:rPr lang="en-IE" i="0" dirty="0">
                <a:solidFill>
                  <a:srgbClr val="666666"/>
                </a:solidFill>
                <a:effectLst/>
                <a:latin typeface="tahoma" panose="020B0604030504040204" pitchFamily="34" charset="0"/>
              </a:rPr>
              <a:t>Metrics </a:t>
            </a:r>
            <a:r>
              <a:rPr lang="en-IE" b="0" i="0" dirty="0">
                <a:solidFill>
                  <a:srgbClr val="666666"/>
                </a:solidFill>
                <a:effectLst/>
                <a:latin typeface="tahoma" panose="020B0604030504040204" pitchFamily="34" charset="0"/>
              </a:rPr>
              <a:t>are designed to record tangible improvements in results that are expected to follow Transformation. </a:t>
            </a:r>
            <a:endParaRPr lang="en-IE" dirty="0"/>
          </a:p>
          <a:p>
            <a:pPr marL="285750" indent="-285750">
              <a:buFont typeface="Arial" panose="020B0604020202020204" pitchFamily="34" charset="0"/>
              <a:buChar char="•"/>
            </a:pPr>
            <a:r>
              <a:rPr lang="en-IE" b="1" dirty="0"/>
              <a:t>Transformation Scorecard (5204) </a:t>
            </a:r>
            <a:r>
              <a:rPr lang="en-IE" dirty="0"/>
              <a:t>assesses the degree to which the site successfully implements the Fundamental and Transformational elements. The different star levels measure the depth and breadth of deployment. First deep, and then wide.</a:t>
            </a:r>
          </a:p>
        </p:txBody>
      </p:sp>
      <p:sp>
        <p:nvSpPr>
          <p:cNvPr id="4" name="Rectangle 3">
            <a:extLst>
              <a:ext uri="{FF2B5EF4-FFF2-40B4-BE49-F238E27FC236}">
                <a16:creationId xmlns:a16="http://schemas.microsoft.com/office/drawing/2014/main" id="{28BF5EC8-0486-4D19-97C8-DEE49A44061B}"/>
              </a:ext>
            </a:extLst>
          </p:cNvPr>
          <p:cNvSpPr/>
          <p:nvPr/>
        </p:nvSpPr>
        <p:spPr>
          <a:xfrm>
            <a:off x="516000" y="5320232"/>
            <a:ext cx="11528168" cy="923330"/>
          </a:xfrm>
          <a:prstGeom prst="rect">
            <a:avLst/>
          </a:prstGeom>
        </p:spPr>
        <p:txBody>
          <a:bodyPr wrap="square">
            <a:spAutoFit/>
          </a:bodyPr>
          <a:lstStyle/>
          <a:p>
            <a:pPr marL="285750" indent="-285750">
              <a:buFont typeface="Arial" panose="020B0604020202020204" pitchFamily="34" charset="0"/>
              <a:buChar char="•"/>
            </a:pPr>
            <a:r>
              <a:rPr lang="en-IE" dirty="0"/>
              <a:t>Together Performance and Transformation Implementation Scorecards determine a site’s overall Star rating. </a:t>
            </a:r>
          </a:p>
          <a:p>
            <a:pPr marL="285750" indent="-285750">
              <a:buFont typeface="Arial" panose="020B0604020202020204" pitchFamily="34" charset="0"/>
              <a:buChar char="•"/>
            </a:pPr>
            <a:r>
              <a:rPr lang="en-IE" dirty="0"/>
              <a:t>Using the </a:t>
            </a:r>
            <a:r>
              <a:rPr lang="en-IE" b="1" dirty="0"/>
              <a:t>online assessment tool</a:t>
            </a:r>
            <a:r>
              <a:rPr lang="en-IE" dirty="0"/>
              <a:t>, sites report their star level progress for both transformation and metrics to operations management on a monthly basis. </a:t>
            </a:r>
          </a:p>
        </p:txBody>
      </p:sp>
      <p:pic>
        <p:nvPicPr>
          <p:cNvPr id="5" name="Picture 4">
            <a:extLst>
              <a:ext uri="{FF2B5EF4-FFF2-40B4-BE49-F238E27FC236}">
                <a16:creationId xmlns:a16="http://schemas.microsoft.com/office/drawing/2014/main" id="{78A84C37-6A80-4201-A291-505402A333EA}"/>
              </a:ext>
            </a:extLst>
          </p:cNvPr>
          <p:cNvPicPr>
            <a:picLocks noChangeAspect="1"/>
          </p:cNvPicPr>
          <p:nvPr/>
        </p:nvPicPr>
        <p:blipFill>
          <a:blip r:embed="rId2"/>
          <a:stretch>
            <a:fillRect/>
          </a:stretch>
        </p:blipFill>
        <p:spPr>
          <a:xfrm>
            <a:off x="1747982" y="3816821"/>
            <a:ext cx="2724060" cy="1377179"/>
          </a:xfrm>
          <a:prstGeom prst="rect">
            <a:avLst/>
          </a:prstGeom>
          <a:ln>
            <a:solidFill>
              <a:schemeClr val="tx1"/>
            </a:solidFill>
          </a:ln>
        </p:spPr>
      </p:pic>
      <p:pic>
        <p:nvPicPr>
          <p:cNvPr id="6" name="Picture 5">
            <a:extLst>
              <a:ext uri="{FF2B5EF4-FFF2-40B4-BE49-F238E27FC236}">
                <a16:creationId xmlns:a16="http://schemas.microsoft.com/office/drawing/2014/main" id="{C6CCC64C-7FC5-4C5E-BCAB-6FC3D36AC9A2}"/>
              </a:ext>
            </a:extLst>
          </p:cNvPr>
          <p:cNvPicPr>
            <a:picLocks noChangeAspect="1"/>
          </p:cNvPicPr>
          <p:nvPr/>
        </p:nvPicPr>
        <p:blipFill>
          <a:blip r:embed="rId3"/>
          <a:stretch>
            <a:fillRect/>
          </a:stretch>
        </p:blipFill>
        <p:spPr>
          <a:xfrm>
            <a:off x="5613387" y="3841828"/>
            <a:ext cx="2062348" cy="1377179"/>
          </a:xfrm>
          <a:prstGeom prst="rect">
            <a:avLst/>
          </a:prstGeom>
          <a:ln>
            <a:solidFill>
              <a:schemeClr val="tx1"/>
            </a:solidFill>
          </a:ln>
        </p:spPr>
      </p:pic>
      <p:pic>
        <p:nvPicPr>
          <p:cNvPr id="8" name="Graphic 7" descr="Add">
            <a:extLst>
              <a:ext uri="{FF2B5EF4-FFF2-40B4-BE49-F238E27FC236}">
                <a16:creationId xmlns:a16="http://schemas.microsoft.com/office/drawing/2014/main" id="{0F14D06F-75A4-4FDA-A4D8-FC10A8B074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66640" y="4275008"/>
            <a:ext cx="681583" cy="681583"/>
          </a:xfrm>
          <a:prstGeom prst="rect">
            <a:avLst/>
          </a:prstGeom>
        </p:spPr>
      </p:pic>
      <p:sp>
        <p:nvSpPr>
          <p:cNvPr id="9" name="TextBox 8">
            <a:extLst>
              <a:ext uri="{FF2B5EF4-FFF2-40B4-BE49-F238E27FC236}">
                <a16:creationId xmlns:a16="http://schemas.microsoft.com/office/drawing/2014/main" id="{2082DF8B-7545-4E2B-96D2-BE9037B03A36}"/>
              </a:ext>
            </a:extLst>
          </p:cNvPr>
          <p:cNvSpPr txBox="1"/>
          <p:nvPr/>
        </p:nvSpPr>
        <p:spPr>
          <a:xfrm>
            <a:off x="7840899" y="3993671"/>
            <a:ext cx="848016" cy="1200329"/>
          </a:xfrm>
          <a:prstGeom prst="rect">
            <a:avLst/>
          </a:prstGeom>
          <a:noFill/>
        </p:spPr>
        <p:txBody>
          <a:bodyPr wrap="square" rtlCol="0">
            <a:spAutoFit/>
          </a:bodyPr>
          <a:lstStyle/>
          <a:p>
            <a:r>
              <a:rPr lang="en-IE" sz="7200" b="1" dirty="0"/>
              <a:t>=</a:t>
            </a:r>
          </a:p>
        </p:txBody>
      </p:sp>
      <p:sp>
        <p:nvSpPr>
          <p:cNvPr id="11" name="Star: 5 Points 10">
            <a:extLst>
              <a:ext uri="{FF2B5EF4-FFF2-40B4-BE49-F238E27FC236}">
                <a16:creationId xmlns:a16="http://schemas.microsoft.com/office/drawing/2014/main" id="{A3ACA5C4-2F64-4615-A7DA-6A2B6A24AF3A}"/>
              </a:ext>
            </a:extLst>
          </p:cNvPr>
          <p:cNvSpPr/>
          <p:nvPr/>
        </p:nvSpPr>
        <p:spPr>
          <a:xfrm>
            <a:off x="8569443" y="4586334"/>
            <a:ext cx="555752" cy="463635"/>
          </a:xfrm>
          <a:prstGeom prst="star5">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Star: 5 Points 12">
            <a:extLst>
              <a:ext uri="{FF2B5EF4-FFF2-40B4-BE49-F238E27FC236}">
                <a16:creationId xmlns:a16="http://schemas.microsoft.com/office/drawing/2014/main" id="{54444D10-46F4-415F-9F97-C47A59E2BADA}"/>
              </a:ext>
            </a:extLst>
          </p:cNvPr>
          <p:cNvSpPr/>
          <p:nvPr/>
        </p:nvSpPr>
        <p:spPr>
          <a:xfrm>
            <a:off x="9233402" y="4586334"/>
            <a:ext cx="555752" cy="463635"/>
          </a:xfrm>
          <a:prstGeom prst="star5">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Star: 5 Points 13">
            <a:extLst>
              <a:ext uri="{FF2B5EF4-FFF2-40B4-BE49-F238E27FC236}">
                <a16:creationId xmlns:a16="http://schemas.microsoft.com/office/drawing/2014/main" id="{818B40F9-15C8-4E32-A957-D6864CD18AF4}"/>
              </a:ext>
            </a:extLst>
          </p:cNvPr>
          <p:cNvSpPr/>
          <p:nvPr/>
        </p:nvSpPr>
        <p:spPr>
          <a:xfrm>
            <a:off x="9897361" y="4586334"/>
            <a:ext cx="555752" cy="463635"/>
          </a:xfrm>
          <a:prstGeom prst="star5">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Star: 5 Points 14">
            <a:extLst>
              <a:ext uri="{FF2B5EF4-FFF2-40B4-BE49-F238E27FC236}">
                <a16:creationId xmlns:a16="http://schemas.microsoft.com/office/drawing/2014/main" id="{3C5AFEFF-3CF8-45D7-9463-25F4F40692B6}"/>
              </a:ext>
            </a:extLst>
          </p:cNvPr>
          <p:cNvSpPr/>
          <p:nvPr/>
        </p:nvSpPr>
        <p:spPr>
          <a:xfrm>
            <a:off x="8884066" y="4054526"/>
            <a:ext cx="555752" cy="463635"/>
          </a:xfrm>
          <a:prstGeom prst="star5">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Star: 5 Points 15">
            <a:extLst>
              <a:ext uri="{FF2B5EF4-FFF2-40B4-BE49-F238E27FC236}">
                <a16:creationId xmlns:a16="http://schemas.microsoft.com/office/drawing/2014/main" id="{83C1C015-6850-427F-B70C-E6E7026E8CA1}"/>
              </a:ext>
            </a:extLst>
          </p:cNvPr>
          <p:cNvSpPr/>
          <p:nvPr/>
        </p:nvSpPr>
        <p:spPr>
          <a:xfrm>
            <a:off x="9619485" y="4053437"/>
            <a:ext cx="555752" cy="463635"/>
          </a:xfrm>
          <a:prstGeom prst="star5">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nvGrpSpPr>
          <p:cNvPr id="17" name="Group 16">
            <a:extLst>
              <a:ext uri="{FF2B5EF4-FFF2-40B4-BE49-F238E27FC236}">
                <a16:creationId xmlns:a16="http://schemas.microsoft.com/office/drawing/2014/main" id="{BDE3E5F9-F593-4DC8-A3D7-31E6174CBE9A}"/>
              </a:ext>
            </a:extLst>
          </p:cNvPr>
          <p:cNvGrpSpPr/>
          <p:nvPr/>
        </p:nvGrpSpPr>
        <p:grpSpPr>
          <a:xfrm>
            <a:off x="35768" y="6193279"/>
            <a:ext cx="1289135" cy="664721"/>
            <a:chOff x="8407400" y="5845092"/>
            <a:chExt cx="1289135" cy="672559"/>
          </a:xfrm>
        </p:grpSpPr>
        <p:pic>
          <p:nvPicPr>
            <p:cNvPr id="18" name="Graphic 17" descr="List">
              <a:hlinkClick r:id="rId6" action="ppaction://hlinksldjump"/>
              <a:extLst>
                <a:ext uri="{FF2B5EF4-FFF2-40B4-BE49-F238E27FC236}">
                  <a16:creationId xmlns:a16="http://schemas.microsoft.com/office/drawing/2014/main" id="{D6974E97-D466-4AB9-97FF-0F1E6B0CD7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57825" y="5845092"/>
              <a:ext cx="468725" cy="468725"/>
            </a:xfrm>
            <a:prstGeom prst="rect">
              <a:avLst/>
            </a:prstGeom>
          </p:spPr>
        </p:pic>
        <p:sp>
          <p:nvSpPr>
            <p:cNvPr id="19" name="Rectangle 18">
              <a:extLst>
                <a:ext uri="{FF2B5EF4-FFF2-40B4-BE49-F238E27FC236}">
                  <a16:creationId xmlns:a16="http://schemas.microsoft.com/office/drawing/2014/main" id="{5FB1A6DC-78F2-441D-9821-E72E26F9BA8E}"/>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E98300"/>
                  </a:solidFill>
                  <a:effectLst/>
                  <a:uLnTx/>
                  <a:uFillTx/>
                  <a:latin typeface="Arial"/>
                  <a:ea typeface="+mn-ea"/>
                  <a:cs typeface="+mn-cs"/>
                </a:rPr>
                <a:t>Return to Agenda</a:t>
              </a:r>
            </a:p>
          </p:txBody>
        </p:sp>
      </p:grpSp>
      <p:pic>
        <p:nvPicPr>
          <p:cNvPr id="20" name="Picture 19">
            <a:hlinkClick r:id="rId9" action="ppaction://hlinksldjump"/>
            <a:extLst>
              <a:ext uri="{FF2B5EF4-FFF2-40B4-BE49-F238E27FC236}">
                <a16:creationId xmlns:a16="http://schemas.microsoft.com/office/drawing/2014/main" id="{2E287346-72C9-4016-8C2C-C9BDD14F8DC8}"/>
              </a:ext>
            </a:extLst>
          </p:cNvPr>
          <p:cNvPicPr>
            <a:picLocks noChangeAspect="1"/>
          </p:cNvPicPr>
          <p:nvPr/>
        </p:nvPicPr>
        <p:blipFill>
          <a:blip r:embed="rId10"/>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9176376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WrdBgjYtYU5reSUcT4y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d3ho4Wg1K2aJSkyDM2Q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SrZi9QRDaueNY0HPjUGlA"/>
</p:tagLst>
</file>

<file path=ppt/theme/theme1.xml><?xml version="1.0" encoding="utf-8"?>
<a:theme xmlns:a="http://schemas.openxmlformats.org/drawingml/2006/main" name="TE Brand 2020 Theme1">
  <a:themeElements>
    <a:clrScheme name="New">
      <a:dk1>
        <a:srgbClr val="666666"/>
      </a:dk1>
      <a:lt1>
        <a:srgbClr val="FFFFFF"/>
      </a:lt1>
      <a:dk2>
        <a:srgbClr val="FFFFFF"/>
      </a:dk2>
      <a:lt2>
        <a:srgbClr val="E98300"/>
      </a:lt2>
      <a:accent1>
        <a:srgbClr val="E98300"/>
      </a:accent1>
      <a:accent2>
        <a:srgbClr val="666666"/>
      </a:accent2>
      <a:accent3>
        <a:srgbClr val="0066A1"/>
      </a:accent3>
      <a:accent4>
        <a:srgbClr val="3CB7E3"/>
      </a:accent4>
      <a:accent5>
        <a:srgbClr val="FCD350"/>
      </a:accent5>
      <a:accent6>
        <a:srgbClr val="CD202C"/>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 Brand 2020 Theme1" id="{12899FE3-C2AC-41DA-9923-DD3E7B78135E}" vid="{32FF061F-6323-48F2-9466-41EE67102665}"/>
    </a:ext>
  </a:extLst>
</a:theme>
</file>

<file path=ppt/theme/theme2.xml><?xml version="1.0" encoding="utf-8"?>
<a:theme xmlns:a="http://schemas.openxmlformats.org/drawingml/2006/main" name="1_TE Brand 2020 Theme1">
  <a:themeElements>
    <a:clrScheme name="New">
      <a:dk1>
        <a:srgbClr val="666666"/>
      </a:dk1>
      <a:lt1>
        <a:srgbClr val="FFFFFF"/>
      </a:lt1>
      <a:dk2>
        <a:srgbClr val="FFFFFF"/>
      </a:dk2>
      <a:lt2>
        <a:srgbClr val="E98300"/>
      </a:lt2>
      <a:accent1>
        <a:srgbClr val="E98300"/>
      </a:accent1>
      <a:accent2>
        <a:srgbClr val="666666"/>
      </a:accent2>
      <a:accent3>
        <a:srgbClr val="0066A1"/>
      </a:accent3>
      <a:accent4>
        <a:srgbClr val="3CB7E3"/>
      </a:accent4>
      <a:accent5>
        <a:srgbClr val="FCD350"/>
      </a:accent5>
      <a:accent6>
        <a:srgbClr val="CD202C"/>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 Brand 2020 Theme1" id="{12899FE3-C2AC-41DA-9923-DD3E7B78135E}" vid="{32FF061F-6323-48F2-9466-41EE67102665}"/>
    </a:ext>
  </a:extLst>
</a:theme>
</file>

<file path=ppt/theme/theme3.xml><?xml version="1.0" encoding="utf-8"?>
<a:theme xmlns:a="http://schemas.openxmlformats.org/drawingml/2006/main" name="2_TE Brand 2020 Theme1">
  <a:themeElements>
    <a:clrScheme name="New">
      <a:dk1>
        <a:srgbClr val="666666"/>
      </a:dk1>
      <a:lt1>
        <a:srgbClr val="FFFFFF"/>
      </a:lt1>
      <a:dk2>
        <a:srgbClr val="FFFFFF"/>
      </a:dk2>
      <a:lt2>
        <a:srgbClr val="E98300"/>
      </a:lt2>
      <a:accent1>
        <a:srgbClr val="E98300"/>
      </a:accent1>
      <a:accent2>
        <a:srgbClr val="666666"/>
      </a:accent2>
      <a:accent3>
        <a:srgbClr val="0066A1"/>
      </a:accent3>
      <a:accent4>
        <a:srgbClr val="3CB7E3"/>
      </a:accent4>
      <a:accent5>
        <a:srgbClr val="FCD350"/>
      </a:accent5>
      <a:accent6>
        <a:srgbClr val="CD202C"/>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 Brand 2020 Theme1" id="{12899FE3-C2AC-41DA-9923-DD3E7B78135E}" vid="{32FF061F-6323-48F2-9466-41EE6710266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7A1BBB0C65B294CA7DCA4A3CE828199" ma:contentTypeVersion="1" ma:contentTypeDescription="Create a new document." ma:contentTypeScope="" ma:versionID="4267dc8f915110def69a0010305e1e16">
  <xsd:schema xmlns:xsd="http://www.w3.org/2001/XMLSchema" xmlns:xs="http://www.w3.org/2001/XMLSchema" xmlns:p="http://schemas.microsoft.com/office/2006/metadata/properties" xmlns:ns2="dbcfff2c-5cce-4cb7-b05b-d3b2e8ac169c" xmlns:ns3="36b2ca4c-9cb9-4390-9c92-9d5e0fe0f0b4" targetNamespace="http://schemas.microsoft.com/office/2006/metadata/properties" ma:root="true" ma:fieldsID="3409fdb901b3d6c5cf251c5765371717" ns2:_="" ns3:_="">
    <xsd:import namespace="dbcfff2c-5cce-4cb7-b05b-d3b2e8ac169c"/>
    <xsd:import namespace="36b2ca4c-9cb9-4390-9c92-9d5e0fe0f0b4"/>
    <xsd:element name="properties">
      <xsd:complexType>
        <xsd:sequence>
          <xsd:element name="documentManagement">
            <xsd:complexType>
              <xsd:all>
                <xsd:element ref="ns2:_dlc_DocId" minOccurs="0"/>
                <xsd:element ref="ns2:_dlc_DocIdUrl" minOccurs="0"/>
                <xsd:element ref="ns2:_dlc_DocIdPersistId" minOccurs="0"/>
                <xsd:element ref="ns3:u08j"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cfff2c-5cce-4cb7-b05b-d3b2e8ac169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36b2ca4c-9cb9-4390-9c92-9d5e0fe0f0b4" elementFormDefault="qualified">
    <xsd:import namespace="http://schemas.microsoft.com/office/2006/documentManagement/types"/>
    <xsd:import namespace="http://schemas.microsoft.com/office/infopath/2007/PartnerControls"/>
    <xsd:element name="u08j" ma:index="11" nillable="true" ma:displayName="Link to Training Materials" ma:internalName="u08j">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dbcfff2c-5cce-4cb7-b05b-d3b2e8ac169c">VMM2RVFH342Q-1513051167-49</_dlc_DocId>
    <_dlc_DocIdUrl xmlns="dbcfff2c-5cce-4cb7-b05b-d3b2e8ac169c">
      <Url>https://teams.connect.te.com/sites/TEOA/_layouts/15/DocIdRedir.aspx?ID=VMM2RVFH342Q-1513051167-49</Url>
      <Description>VMM2RVFH342Q-1513051167-49</Description>
    </_dlc_DocIdUrl>
    <u08j xmlns="36b2ca4c-9cb9-4390-9c92-9d5e0fe0f0b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BC8D8C8-D43B-4F4B-96AC-0406CB149B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cfff2c-5cce-4cb7-b05b-d3b2e8ac169c"/>
    <ds:schemaRef ds:uri="36b2ca4c-9cb9-4390-9c92-9d5e0fe0f0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9342B4-7A07-4881-B7CA-75335F2B90A3}">
  <ds:schemaRefs>
    <ds:schemaRef ds:uri="http://www.w3.org/XML/1998/namespace"/>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dbcfff2c-5cce-4cb7-b05b-d3b2e8ac169c"/>
    <ds:schemaRef ds:uri="http://schemas.openxmlformats.org/package/2006/metadata/core-properties"/>
    <ds:schemaRef ds:uri="36b2ca4c-9cb9-4390-9c92-9d5e0fe0f0b4"/>
    <ds:schemaRef ds:uri="http://purl.org/dc/dcmitype/"/>
  </ds:schemaRefs>
</ds:datastoreItem>
</file>

<file path=customXml/itemProps3.xml><?xml version="1.0" encoding="utf-8"?>
<ds:datastoreItem xmlns:ds="http://schemas.openxmlformats.org/officeDocument/2006/customXml" ds:itemID="{5B0C959A-E494-4BD5-A42B-E69F0C81AF13}">
  <ds:schemaRefs>
    <ds:schemaRef ds:uri="http://schemas.microsoft.com/sharepoint/v3/contenttype/forms"/>
  </ds:schemaRefs>
</ds:datastoreItem>
</file>

<file path=customXml/itemProps4.xml><?xml version="1.0" encoding="utf-8"?>
<ds:datastoreItem xmlns:ds="http://schemas.openxmlformats.org/officeDocument/2006/customXml" ds:itemID="{53490309-5146-4009-9462-119B3F9B5E3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TE Brand 2020 Theme1</Template>
  <TotalTime>544</TotalTime>
  <Words>3577</Words>
  <Application>Microsoft Office PowerPoint</Application>
  <PresentationFormat>Widescreen</PresentationFormat>
  <Paragraphs>290</Paragraphs>
  <Slides>22</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0" baseType="lpstr">
      <vt:lpstr>MS PGothic</vt:lpstr>
      <vt:lpstr>Arial</vt:lpstr>
      <vt:lpstr>Calibri</vt:lpstr>
      <vt:lpstr>tahoma</vt:lpstr>
      <vt:lpstr>TE Brand 2020 Theme1</vt:lpstr>
      <vt:lpstr>1_TE Brand 2020 Theme1</vt:lpstr>
      <vt:lpstr>2_TE Brand 2020 Theme1</vt:lpstr>
      <vt:lpstr>think-cell Folie</vt:lpstr>
      <vt:lpstr>Create Stability &amp; Culture Playbook  TEC-406-160015 </vt:lpstr>
      <vt:lpstr>Using the Create Stability &amp; Culture Playbook – What do the Icons Mean?</vt:lpstr>
      <vt:lpstr>TEOA – Operations Management System</vt:lpstr>
      <vt:lpstr>Create Stability &amp; Culture Overview</vt:lpstr>
      <vt:lpstr>OBJECTIVE OF THE PLAYBOOK</vt:lpstr>
      <vt:lpstr>What Is TE OPERATING ADVANTAGE (TEOA)?</vt:lpstr>
      <vt:lpstr>What Is TE OPERATING ADVANTAGE (TEOA)?</vt:lpstr>
      <vt:lpstr>TEOA TOOLKIT DRIVING THE OPERATING SYSTEM</vt:lpstr>
      <vt:lpstr>TEOA STAR SYSTEM INFRASTRUCTURE - Global Star Assessment Tool </vt:lpstr>
      <vt:lpstr> Managing The Deployment</vt:lpstr>
      <vt:lpstr>Managing The Deployment – Site Integration Team (SIT)</vt:lpstr>
      <vt:lpstr>Program Management Activities</vt:lpstr>
      <vt:lpstr>Managing The Deployment – Kick-Off Meeting</vt:lpstr>
      <vt:lpstr>Managing The Deployment – Key Site Participants</vt:lpstr>
      <vt:lpstr>Managing The Deployment – Develop Guiding Principles</vt:lpstr>
      <vt:lpstr> Fundamental Element Implementation</vt:lpstr>
      <vt:lpstr>Fundamental Element Implementation</vt:lpstr>
      <vt:lpstr>Fundamental Element Implementation</vt:lpstr>
      <vt:lpstr>BUILDING CAPABILITIES – DEVELOPING YOUR PEOPLE</vt:lpstr>
      <vt:lpstr>BUILDING CAPABILITIES – Key Roles</vt:lpstr>
      <vt:lpstr>AVAILABLE RESOURCES</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e Stability and Culture Playbook TEC-406-160015</dc:title>
  <dc:creator>O'Neill, Dermot</dc:creator>
  <cp:lastModifiedBy>O'Neill, Dermot</cp:lastModifiedBy>
  <cp:revision>4</cp:revision>
  <cp:lastPrinted>2020-06-11T08:54:29Z</cp:lastPrinted>
  <dcterms:created xsi:type="dcterms:W3CDTF">2020-06-02T07:32:50Z</dcterms:created>
  <dcterms:modified xsi:type="dcterms:W3CDTF">2022-04-20T13:0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A1BBB0C65B294CA7DCA4A3CE828199</vt:lpwstr>
  </property>
  <property fmtid="{D5CDD505-2E9C-101B-9397-08002B2CF9AE}" pid="3" name="_dlc_DocIdItemGuid">
    <vt:lpwstr>f63ffe58-d98a-4c29-afba-a9ac23f89e8e</vt:lpwstr>
  </property>
</Properties>
</file>